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5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6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7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8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11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12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theme/theme13.xml" ContentType="application/vnd.openxmlformats-officedocument.theme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4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theme/theme15.xml" ContentType="application/vnd.openxmlformats-officedocument.theme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16.xml" ContentType="application/vnd.openxmlformats-officedocument.theme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theme/theme1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1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81" r:id="rId1"/>
    <p:sldMasterId id="2147483871" r:id="rId2"/>
    <p:sldMasterId id="2147483909" r:id="rId3"/>
    <p:sldMasterId id="2147483953" r:id="rId4"/>
    <p:sldMasterId id="2147484140" r:id="rId5"/>
    <p:sldMasterId id="2147484182" r:id="rId6"/>
    <p:sldMasterId id="2147484228" r:id="rId7"/>
    <p:sldMasterId id="2147484262" r:id="rId8"/>
    <p:sldMasterId id="2147484276" r:id="rId9"/>
    <p:sldMasterId id="2147484308" r:id="rId10"/>
    <p:sldMasterId id="2147484337" r:id="rId11"/>
    <p:sldMasterId id="2147484349" r:id="rId12"/>
    <p:sldMasterId id="2147484382" r:id="rId13"/>
    <p:sldMasterId id="2147484389" r:id="rId14"/>
    <p:sldMasterId id="2147484423" r:id="rId15"/>
    <p:sldMasterId id="2147484445" r:id="rId16"/>
    <p:sldMasterId id="2147484453" r:id="rId17"/>
    <p:sldMasterId id="2147484480" r:id="rId18"/>
    <p:sldMasterId id="2147484505" r:id="rId19"/>
  </p:sldMasterIdLst>
  <p:notesMasterIdLst>
    <p:notesMasterId r:id="rId40"/>
  </p:notesMasterIdLst>
  <p:handoutMasterIdLst>
    <p:handoutMasterId r:id="rId41"/>
  </p:handoutMasterIdLst>
  <p:sldIdLst>
    <p:sldId id="2142533387" r:id="rId20"/>
    <p:sldId id="2142533743" r:id="rId21"/>
    <p:sldId id="259" r:id="rId22"/>
    <p:sldId id="2142533747" r:id="rId23"/>
    <p:sldId id="2142532306" r:id="rId24"/>
    <p:sldId id="2142532304" r:id="rId25"/>
    <p:sldId id="2142532308" r:id="rId26"/>
    <p:sldId id="2142533750" r:id="rId27"/>
    <p:sldId id="2142533746" r:id="rId28"/>
    <p:sldId id="2142533748" r:id="rId29"/>
    <p:sldId id="2142533751" r:id="rId30"/>
    <p:sldId id="2142533752" r:id="rId31"/>
    <p:sldId id="2142533753" r:id="rId32"/>
    <p:sldId id="2142533754" r:id="rId33"/>
    <p:sldId id="2142533755" r:id="rId34"/>
    <p:sldId id="2142533756" r:id="rId35"/>
    <p:sldId id="2142533757" r:id="rId36"/>
    <p:sldId id="2142533758" r:id="rId37"/>
    <p:sldId id="2142533759" r:id="rId38"/>
    <p:sldId id="330" r:id="rId39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rnando Barsoba" initials="FB" lastIdx="1" clrIdx="0"/>
  <p:cmAuthor id="2" name="Errol Binda" initials="EB" lastIdx="9" clrIdx="1">
    <p:extLst>
      <p:ext uri="{19B8F6BF-5375-455C-9EA6-DF929625EA0E}">
        <p15:presenceInfo xmlns:p15="http://schemas.microsoft.com/office/powerpoint/2012/main" userId="S::ebinda@ibm.com::650e8ef3-e1be-48a7-be30-02094c180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7F5"/>
    <a:srgbClr val="00FA00"/>
    <a:srgbClr val="73FEFF"/>
    <a:srgbClr val="003BC9"/>
    <a:srgbClr val="ABADED"/>
    <a:srgbClr val="131313"/>
    <a:srgbClr val="284A5F"/>
    <a:srgbClr val="4178BE"/>
    <a:srgbClr val="0D70C0"/>
    <a:srgbClr val="DB26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10"/>
    <p:restoredTop sz="86910" autoAdjust="0"/>
  </p:normalViewPr>
  <p:slideViewPr>
    <p:cSldViewPr snapToGrid="0" snapToObjects="1" showGuides="1">
      <p:cViewPr varScale="1">
        <p:scale>
          <a:sx n="100" d="100"/>
          <a:sy n="100" d="100"/>
        </p:scale>
        <p:origin x="168" y="123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47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6" d="100"/>
        <a:sy n="116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2216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2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tableStyles" Target="tableStyles.xml"/><Relationship Id="rId20" Type="http://schemas.openxmlformats.org/officeDocument/2006/relationships/slide" Target="slides/slide1.xml"/><Relationship Id="rId41" Type="http://schemas.openxmlformats.org/officeDocument/2006/relationships/handoutMaster" Target="handoutMasters/handoutMaster1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1B1F9-D0CB-FF4D-BEE0-BED1F1FDA196}" type="datetimeFigureOut">
              <a:rPr lang="en-US" smtClean="0"/>
              <a:t>8/1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BA3DDA-848E-4542-90FB-F9E770D81D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37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12A-D992-5D42-B86E-AA2BC0764EE1}" type="datetimeFigureOut">
              <a:rPr lang="en-US" smtClean="0"/>
              <a:t>8/10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02FFD-07D4-5C4F-BD77-9210081773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5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983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D02FFD-07D4-5C4F-BD77-92100817734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990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735711-4DAC-F94C-A7DD-221F505869FF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ＭＳ Ｐゴシック" charset="-128"/>
              <a:cs typeface="+mn-cs"/>
            </a:endParaRPr>
          </a:p>
        </p:txBody>
      </p:sp>
      <p:sp>
        <p:nvSpPr>
          <p:cNvPr id="49155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6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4051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.bin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8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.bin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2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3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3999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288501"/>
      </p:ext>
    </p:extLst>
  </p:cSld>
  <p:clrMapOvr>
    <a:masterClrMapping/>
  </p:clrMapOvr>
  <p:hf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8736277"/>
      </p:ext>
    </p:extLst>
  </p:cSld>
  <p:clrMapOvr>
    <a:masterClrMapping/>
  </p:clrMapOvr>
  <p:hf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44050618"/>
      </p:ext>
    </p:extLst>
  </p:cSld>
  <p:clrMapOvr>
    <a:masterClrMapping/>
  </p:clrMapOvr>
  <p:hf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2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2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172555"/>
      </p:ext>
    </p:extLst>
  </p:cSld>
  <p:clrMapOvr>
    <a:masterClrMapping/>
  </p:clrMapOvr>
  <p:hf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2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6826912"/>
      </p:ext>
    </p:extLst>
  </p:cSld>
  <p:clrMapOvr>
    <a:masterClrMapping/>
  </p:clrMapOvr>
  <p:hf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8894510"/>
      </p:ext>
    </p:extLst>
  </p:cSld>
  <p:clrMapOvr>
    <a:masterClrMapping/>
  </p:clrMapOvr>
  <p:hf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931511"/>
      </p:ext>
    </p:extLst>
  </p:cSld>
  <p:clrMapOvr>
    <a:masterClrMapping/>
  </p:clrMapOvr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37806202"/>
      </p:ext>
    </p:extLst>
  </p:cSld>
  <p:clrMapOvr>
    <a:masterClrMapping/>
  </p:clrMapOvr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06216196"/>
      </p:ext>
    </p:extLst>
  </p:cSld>
  <p:clrMapOvr>
    <a:masterClrMapping/>
  </p:clrMapOvr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7287239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5187462" cy="4520805"/>
          </a:xfrm>
        </p:spPr>
        <p:txBody>
          <a:bodyPr/>
          <a:lstStyle>
            <a:lvl1pPr marL="117469" indent="-11746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86626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1"/>
            <a:ext cx="6400800" cy="38242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4682905"/>
      </p:ext>
    </p:extLst>
  </p:cSld>
  <p:clrMapOvr>
    <a:masterClrMapping/>
  </p:clrMapOvr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5562067"/>
      </p:ext>
    </p:extLst>
  </p:cSld>
  <p:clrMapOvr>
    <a:masterClrMapping/>
  </p:clrMapOvr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56150083"/>
      </p:ext>
    </p:extLst>
  </p:cSld>
  <p:clrMapOvr>
    <a:masterClrMapping/>
  </p:clrMapOvr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69" indent="-117469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8130257"/>
      </p:ext>
    </p:extLst>
  </p:cSld>
  <p:clrMapOvr>
    <a:masterClrMapping/>
  </p:clrMapOvr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6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7"/>
            <a:ext cx="6400800" cy="4597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947884363"/>
      </p:ext>
    </p:extLst>
  </p:cSld>
  <p:clrMapOvr>
    <a:masterClrMapping/>
  </p:clrMapOvr>
  <p:hf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47205238"/>
      </p:ext>
    </p:extLst>
  </p:cSld>
  <p:clrMapOvr>
    <a:masterClrMapping/>
  </p:clrMapOvr>
  <p:hf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688889"/>
      </p:ext>
    </p:extLst>
  </p:cSld>
  <p:clrMapOvr>
    <a:masterClrMapping/>
  </p:clrMapOvr>
  <p:hf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 sz="1100"/>
            </a:lvl1pPr>
            <a:lvl2pPr marL="173030" indent="-17303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1549114"/>
      </p:ext>
    </p:extLst>
  </p:cSld>
  <p:clrMapOvr>
    <a:masterClrMapping/>
  </p:clrMapOvr>
  <p:hf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2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240006"/>
      </p:ext>
    </p:extLst>
  </p:cSld>
  <p:clrMapOvr>
    <a:masterClrMapping/>
  </p:clrMapOvr>
  <p:hf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3_Bar Gray9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rgbClr val="C9DE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IBM Plex Sans" panose="020B0503050000000000" pitchFamily="34" charset="0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96047"/>
            <a:ext cx="1828800" cy="449110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800" baseline="0">
                <a:solidFill>
                  <a:schemeClr val="tx1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266951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5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161163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 Bkgd">
    <p:bg>
      <p:bgPr>
        <a:solidFill>
          <a:srgbClr val="0102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617189">
              <a:lnSpc>
                <a:spcPct val="90000"/>
              </a:lnSpc>
              <a:spcBef>
                <a:spcPts val="540"/>
              </a:spcBef>
              <a:buClr>
                <a:srgbClr val="1D3649"/>
              </a:buClr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5733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Bar_Gray7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rgbClr val="56565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96047"/>
            <a:ext cx="1828800" cy="449110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800">
                <a:solidFill>
                  <a:schemeClr val="bg2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428991160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F4FF0-7E55-1542-80B5-EC6E33EB98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998560-6642-894F-BCCF-45E4FC6D47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ADAEB-190D-044F-843D-746D26A23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3D977-8966-F74D-8363-5B08FA683938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F88CD9-0A05-4946-8EC7-3AE77080A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33ED8-CA15-7145-B5A5-DE0664D20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E886D-60E4-0C4D-B9B3-45DB305E63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3589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508053-6D06-584C-98C1-43E631CB2361}" type="datetime1">
              <a:rPr lang="en-US" smtClean="0"/>
              <a:t>8/10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3A99599-9CCF-9D46-B88F-96036E2D9EEE}"/>
              </a:ext>
            </a:extLst>
          </p:cNvPr>
          <p:cNvSpPr txBox="1">
            <a:spLocks/>
          </p:cNvSpPr>
          <p:nvPr userDrawn="1"/>
        </p:nvSpPr>
        <p:spPr>
          <a:xfrm>
            <a:off x="228600" y="4895136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sz="60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749">
              <a:defRPr/>
            </a:pPr>
            <a:r>
              <a:rPr lang="de-DE" sz="600" dirty="0">
                <a:solidFill>
                  <a:srgbClr val="FFFFFF"/>
                </a:solidFill>
                <a:latin typeface="IBM Plex Sans"/>
                <a:sym typeface="Helvetica"/>
              </a:rPr>
              <a:t>IBM Cloud / September 2019 / © 2019 IBM Corporation</a:t>
            </a:r>
            <a:endParaRPr lang="en-US" sz="600" dirty="0">
              <a:solidFill>
                <a:srgbClr val="FFFFFF"/>
              </a:solidFill>
              <a:latin typeface="IBM Plex San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1703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ast Start 2020 Title Slide">
    <p:bg>
      <p:bgPr>
        <a:gradFill flip="none" rotWithShape="1">
          <a:gsLst>
            <a:gs pos="0">
              <a:srgbClr val="0645CE"/>
            </a:gs>
            <a:gs pos="49917">
              <a:srgbClr val="0631A6"/>
            </a:gs>
            <a:gs pos="100000">
              <a:srgbClr val="06218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4" name="IBM Cloud Fast Start 2020"/>
          <p:cNvSpPr txBox="1"/>
          <p:nvPr/>
        </p:nvSpPr>
        <p:spPr>
          <a:xfrm>
            <a:off x="254000" y="4607559"/>
            <a:ext cx="2530499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dirty="0"/>
              <a:t>IBM </a:t>
            </a:r>
            <a:r>
              <a:rPr dirty="0">
                <a:latin typeface="IBM Plex Sans SemiBold"/>
                <a:ea typeface="IBM Plex Sans SemiBold"/>
                <a:cs typeface="IBM Plex Sans SemiBold"/>
                <a:sym typeface="IBM Plex Sans SemiBold"/>
              </a:rPr>
              <a:t>Cloud</a:t>
            </a:r>
            <a:r>
              <a:rPr lang="en-US" dirty="0">
                <a:latin typeface="IBM Plex Sans SemiBold"/>
                <a:ea typeface="IBM Plex Sans SemiBold"/>
                <a:cs typeface="IBM Plex Sans SemiBold"/>
                <a:sym typeface="IBM Plex Sans SemiBold"/>
              </a:rPr>
              <a:t> and Cognitive Software</a:t>
            </a:r>
            <a:endParaRPr dirty="0"/>
          </a:p>
        </p:txBody>
      </p:sp>
      <p:pic>
        <p:nvPicPr>
          <p:cNvPr id="1316" name="fs-pictogram-productive-light.png" descr="fs-pictogram-productive-ligh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7170" y="1366341"/>
            <a:ext cx="2409661" cy="24108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317" name="IBM_Cloud_Icon_White.png" descr="IBM_Cloud_Icon_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6413" y="110791"/>
            <a:ext cx="898399" cy="84225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0921391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 rotWithShape="0">
          <a:gsLst>
            <a:gs pos="0">
              <a:schemeClr val="accent2"/>
            </a:gs>
            <a:gs pos="100000">
              <a:schemeClr val="tx1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id="{7625BDA3-FE7D-0C4A-9559-DC59D57013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907" y="241698"/>
            <a:ext cx="521494" cy="210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CK_PEG_[01].png">
            <a:extLst>
              <a:ext uri="{FF2B5EF4-FFF2-40B4-BE49-F238E27FC236}">
                <a16:creationId xmlns:a16="http://schemas.microsoft.com/office/drawing/2014/main" id="{8DC4F649-5345-6E49-9AE3-8586B3CB71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6866" y="1621631"/>
            <a:ext cx="2150269" cy="190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E3ECE64E-716B-0844-9922-B0AD4228D14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831" y="4441032"/>
            <a:ext cx="1819275" cy="45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3" y="203782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95275D7-205D-A240-BC0E-6923F3B27A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4827985"/>
            <a:ext cx="6400800" cy="136922"/>
          </a:xfrm>
        </p:spPr>
        <p:txBody>
          <a:bodyPr/>
          <a:lstStyle>
            <a:lvl1pPr defTabSz="685783"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473986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7F670B-C22B-2E47-9C0B-21E355590B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605A5E-707A-7B45-BFF5-41C8C73F9A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D170573-F141-5C4D-AF06-4D6680C191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91070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857" algn="dec"/>
              </a:tabLst>
              <a:defRPr/>
            </a:lvl1pPr>
            <a:lvl2pPr marL="173025" indent="-173025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857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E18FE139-EE36-4540-B61D-51781DCD4C0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9652F9DC-A2FC-7A40-B2F1-B2B1EF2954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C1286B5-1971-CE40-A5D3-DACE9EA432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0926752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6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9089559-06A1-F042-B166-37A7740B4D9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FDA001A-9F5C-8141-8D6D-05057EBF82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CA6E7CFE-7A31-3C4D-B8F6-4078187F8E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718790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6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rtlCol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C47CEE9-3AD0-EE46-8550-4BFE0E66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B6C9E14-62DC-024F-9E10-84C9B6BA19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52A7D2F3-158F-B440-9385-911D3CEF78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62586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4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4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42577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5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D6375-A6D6-BB4C-B6C7-C22A7690C7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B5BD6C1F-8F30-AE4B-BAB7-D977C675F7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E5F5E9-7561-C24F-8ED4-9B166177B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6995484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201170"/>
            <a:ext cx="5187462" cy="4520805"/>
          </a:xfrm>
        </p:spPr>
        <p:txBody>
          <a:bodyPr/>
          <a:lstStyle>
            <a:lvl1pPr marL="117465" indent="-117465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6E89DD-395C-F442-935F-3E665C55E0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6D9B617-87F2-B346-9986-7CAEA8AF41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02F61-063C-8342-BBFA-0A47771BC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859237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7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1264F21-7414-824D-9E03-E3EC1E7810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40AE2225-677D-2845-A80E-CB2CFFFA05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59237802-752B-7049-93B7-A775FABA2A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740486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6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6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6D0FE72-8E1F-ED4F-88F8-1C9B73BF2B6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A2961A8C-577F-B14A-92E6-3E26D7C85B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9D34B750-5595-0649-A29F-8C4740F0D4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108047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2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4"/>
            <a:ext cx="4114800" cy="358965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30FDCEDE-7D29-344C-A899-03CA905AE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1704187A-0229-9C48-BE09-D0B3545456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0569A9A-5441-BC42-8A1D-A119E0E0660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5265450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22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52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06C4E8D-668B-C74A-B300-104C74B55F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>
                <a:latin typeface="+mn-lt"/>
              </a:defRPr>
            </a:lvl1pPr>
          </a:lstStyle>
          <a:p>
            <a:pPr>
              <a:defRPr/>
            </a:pPr>
            <a:fld id="{0957F2F8-CE94-3F4E-8436-6561FE0BC0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2758F82-3243-814C-B164-1977D87FCD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918767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3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2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3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73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73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5029505-F69B-584E-AAD7-D1DC856CD0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F9E9F220-3FAA-E04D-BF4C-85AD255819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4209B98C-72AC-AC49-860F-90678C1A59F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259660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2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4"/>
            <a:ext cx="4114800" cy="358584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1347420-A6D3-874C-B9F3-E066A90977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9945F7C6-D0DF-8345-985C-B8991162EE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29F183BB-F475-124A-8BDE-11B6BA156DE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5915604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3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83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4C1262A-A5B8-2440-BF03-588E351394C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8F0640DE-7A24-1047-98F9-E818054531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1675133B-3495-2D44-A411-C38E5217C7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4462685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4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2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4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9EFC13C-A7D8-644C-B1AB-3E4D11052D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73094B24-05FE-6B4E-8AC7-F6FA34E46B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75FEA19-139E-874B-B214-BF74DF27CA8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587154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2"/>
            <a:ext cx="4114800" cy="358965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15750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A99B6A-D359-B94C-91B7-9A70F9C051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2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4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2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CB8E688-EFC2-794C-A178-5DA3946B901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8F60F72F-838E-6542-AFCE-5247F2F954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CB19391-80E6-A24F-83FE-41027736E0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566742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C30B4EED-CE31-BE46-AC95-060E076B8C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469ADC69-04E3-1342-965C-63398AAD24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47535038-8A70-7241-92AF-B9296C963E4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017217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CB1F2B-DCBF-0A48-B35E-66A305DB81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25EC22CD-64A5-3B45-9113-F941A0ED8F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E78343-3BF5-2843-9B9F-DA042ACCD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26641178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6F73F1-4E27-074A-A0CF-13382C6BFC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1C1CD82D-3B9B-324D-BD84-088E3305CA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13B9EC-A4E5-6748-ADE0-FE7B15686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7342652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2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4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4A998DED-6994-C249-AD4A-CDB0713C78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0A50D074-49DA-9946-96FF-9ABEE18027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9000FADB-0030-0442-A26C-8817801EA50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20111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4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5A6AB2FC-74BA-3144-80CF-DD80FF930E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48B64AD8-CD9A-214C-A6F0-2E03D08C54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42FA9E4-3848-9C4D-8F16-CD715C8351D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895439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5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019B4C0-A6DA-1A46-8DAF-1642D3A636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8EBAA045-2280-514C-B32F-46316C4127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CB6F901-59CB-2C42-A83B-F9B315C910F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653619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59C0F8-6B92-554E-9802-789C28030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114BB7B2-7E2C-9344-903D-2B2D39A531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0F7CB-E2A8-3943-A260-FF1BAFE3F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8538236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C97C5F-9AFF-5447-8DDC-E1E4BB4950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5397142B-E84E-934A-A1D6-F93B32C4A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651B13-E957-0A44-9216-8D1BE0B7430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7308825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E858FA5-8066-284F-A7F4-D846403116E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F0DF517B-4253-0C4B-8506-C0E5CFFF70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D3C92AE-6E0C-CD46-98B6-9FD9C5CD32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76033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20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50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338898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4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1F661D9-218D-E94C-92EE-5291448940C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9E13CAE8-58BB-B945-8BBC-3B4816A242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6254BB6-DF24-7D49-B949-5D5A08DB26F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0017311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1"/>
            <a:ext cx="6400800" cy="38242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0E1013A2-9E0D-7142-A7F3-FDE70D3ABD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36683DD1-2CAD-A340-BCF0-579EC7F098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876A7E33-749E-BD46-9B0F-53CC2682F9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340984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0BC19694-980A-3144-A0B6-3C33087A7C3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E8077FA8-4D01-0F41-BBF7-EFD2F7E262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E238E45-3F92-A947-B4F6-F2182C95E0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49802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0BFA0D0-45DF-C640-97DB-9E99415858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D3C8BDC4-6EA4-2046-85E7-F67DCCE080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F4831A2-8929-0142-A881-52192F596CD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538812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65" indent="-117465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A551629A-1E6D-6640-85B6-DEE57919F12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6D4DCDD6-3A23-D74E-8A8D-1660C6ADD3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4F9E870-E097-F04D-8322-2457C3A69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3973104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6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7"/>
            <a:ext cx="6400800" cy="4597400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B35D48A-F76B-C04B-B08E-89157B666D6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F88D666E-DF0A-0A4D-9D90-F02F44868E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C19D2E4C-8E67-C944-82D7-A3D0F36AAC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7400511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94974F59-D2F7-B349-8D18-D36AEA3EB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70BABD48-FC7C-894D-B966-2BD72EA337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DB8CC444-48D1-944C-B72A-D1353E672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1111011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952227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857" algn="dec"/>
              </a:tabLst>
              <a:defRPr sz="1100"/>
            </a:lvl1pPr>
            <a:lvl2pPr marL="173025" indent="-173025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2FD05F8-3E9E-0C42-B7EA-768EA9A9C63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BD9ADC6B-86DB-684A-BD2E-5959B66BF5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5D697638-E22B-AE41-9BBB-83F0104F07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1115234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2E4262ED-0D13-6244-8B3C-FDCCB19BED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491" y="2185988"/>
            <a:ext cx="1293019" cy="526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CFD6AE-BEB4-4040-923D-D6A8386927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9C0BAD85-F561-7E4B-A72C-65F5B716E7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7118AA-6010-2A40-9244-D693A9C2B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124275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1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238307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3_Bar Gray9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3E5327-6A8E-444B-BA26-67470D9D5F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2286000" cy="5143500"/>
          </a:xfrm>
          <a:prstGeom prst="rect">
            <a:avLst/>
          </a:prstGeom>
          <a:solidFill>
            <a:srgbClr val="C9DE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2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8600" y="196049"/>
            <a:ext cx="1828800" cy="4491101"/>
          </a:xfrm>
        </p:spPr>
        <p:txBody>
          <a:bodyPr rtlCol="0">
            <a:noAutofit/>
          </a:bodyPr>
          <a:lstStyle>
            <a:lvl1pPr>
              <a:defRPr lang="en-US"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20CC067A-86E7-8B4B-B1AA-D06BA65FFA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F6E38206-DF31-9D43-9CA6-2461E1D1D5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6B681DA-C1F3-3B4D-A0F5-4E942F8D5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97943519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 Bkgd">
    <p:bg>
      <p:bgPr>
        <a:solidFill>
          <a:srgbClr val="0102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B9F96601-F6F3-5743-99E1-AC996D707A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617170">
              <a:lnSpc>
                <a:spcPct val="90000"/>
              </a:lnSpc>
              <a:spcBef>
                <a:spcPts val="540"/>
              </a:spcBef>
              <a:buClr>
                <a:srgbClr val="1D3649"/>
              </a:buCl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72808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Bar_Gray7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EB8AEA0-443F-0848-B834-16F455BCE4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2286000" cy="5143500"/>
          </a:xfrm>
          <a:prstGeom prst="rect">
            <a:avLst/>
          </a:prstGeom>
          <a:solidFill>
            <a:srgbClr val="5656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28600" y="196049"/>
            <a:ext cx="1828800" cy="4491101"/>
          </a:xfrm>
        </p:spPr>
        <p:txBody>
          <a:bodyPr rtlCol="0">
            <a:noAutofit/>
          </a:bodyPr>
          <a:lstStyle>
            <a:lvl1pPr>
              <a:defRPr lang="en-US"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E68EE9E4-E44D-844C-9729-E3EAFEC8CC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7966FF46-AAC1-BC4C-A4B2-9ABEB54426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218EA8E-37B7-8E4F-B7DF-F29BF5C1F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750260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ABB638-59DA-CE43-994E-100529A54C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685688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BB049-3F4C-3B4F-A8AA-11B28D9A7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783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6FE9CE-DEA2-484C-917F-47D8FBCDD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685783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4ACB8E47-5A48-8845-846A-D90C1E7301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8411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4693078"/>
            <a:ext cx="521589" cy="20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96227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38573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54548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5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59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33688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5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59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65389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590" b="1" i="0"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3480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2"/>
            <a:ext cx="4114800" cy="358584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083939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4" y="201168"/>
            <a:ext cx="5562535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57015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3878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55589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59015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19238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68507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2930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1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14686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38243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016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1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81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504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4979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4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0334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4572000" cy="2571751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4"/>
            <a:ext cx="4572000" cy="2573337"/>
          </a:xfrm>
          <a:solidFill>
            <a:schemeClr val="tx1"/>
          </a:solidFill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4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25953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2569463"/>
          </a:xfrm>
          <a:noFill/>
        </p:spPr>
        <p:txBody>
          <a:bodyPr lIns="384048" tIns="310896" rIns="384048" bIns="228600"/>
          <a:lstStyle>
            <a:lvl1pPr>
              <a:defRPr sz="47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4"/>
            <a:ext cx="2286000" cy="2573337"/>
          </a:xfrm>
          <a:solidFill>
            <a:srgbClr val="061F80"/>
          </a:solidFill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4"/>
            <a:ext cx="2286000" cy="2573337"/>
          </a:xfrm>
          <a:solidFill>
            <a:srgbClr val="054ADA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solidFill>
            <a:srgbClr val="6EA6FF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01559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61467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999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999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999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8667" y="201613"/>
            <a:ext cx="4143375" cy="42941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72738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solidFill>
            <a:srgbClr val="6EA6FF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79377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3609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66259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43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745173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78397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2463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74169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11929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33088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4"/>
            <a:ext cx="4123944" cy="1309877"/>
          </a:xfrm>
        </p:spPr>
        <p:txBody>
          <a:bodyPr/>
          <a:lstStyle>
            <a:lvl1pPr>
              <a:spcBef>
                <a:spcPts val="0"/>
              </a:spcBef>
              <a:defRPr sz="999"/>
            </a:lvl1pPr>
            <a:lvl2pPr marL="0" indent="0">
              <a:spcBef>
                <a:spcPts val="0"/>
              </a:spcBef>
              <a:buNone/>
              <a:defRPr/>
            </a:lvl2pPr>
            <a:lvl3pPr marL="201413" indent="0">
              <a:buNone/>
              <a:defRPr/>
            </a:lvl3pPr>
            <a:lvl4pPr marL="434546" indent="0">
              <a:buNone/>
              <a:defRPr/>
            </a:lvl4pPr>
            <a:lvl5pPr marL="63120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3659" y="3205697"/>
            <a:ext cx="6405743" cy="1309876"/>
          </a:xfrm>
        </p:spPr>
        <p:txBody>
          <a:bodyPr anchor="b"/>
          <a:lstStyle>
            <a:lvl1pPr>
              <a:spcBef>
                <a:spcPts val="300"/>
              </a:spcBef>
              <a:defRPr sz="599"/>
            </a:lvl1pPr>
            <a:lvl2pPr>
              <a:defRPr sz="599"/>
            </a:lvl2pPr>
            <a:lvl3pPr>
              <a:defRPr sz="599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3999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5" y="2315618"/>
            <a:ext cx="1292095" cy="51226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06039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6205" y="2188845"/>
            <a:ext cx="1414463" cy="525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38252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4693078"/>
            <a:ext cx="521589" cy="20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85318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86143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5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5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183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8" indent="-173038">
              <a:spcBef>
                <a:spcPts val="0"/>
              </a:spcBef>
              <a:tabLst/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175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3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988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4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271347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5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59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95674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5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59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37268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2" y="91440"/>
            <a:ext cx="8778172" cy="4404360"/>
          </a:xfrm>
        </p:spPr>
        <p:txBody>
          <a:bodyPr/>
          <a:lstStyle>
            <a:lvl1pPr>
              <a:defRPr sz="9590" b="1" i="0"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67577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4" y="201169"/>
            <a:ext cx="5562535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87685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9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9"/>
            <a:ext cx="4123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37311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5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8" y="1243585"/>
            <a:ext cx="4123876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70812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5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56523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5526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5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09093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9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9"/>
            <a:ext cx="1837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9"/>
            <a:ext cx="1837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4790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64205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4" y="201169"/>
            <a:ext cx="4142164" cy="4294632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1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9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3774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9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4749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9"/>
            <a:ext cx="4142232" cy="4294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7328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92451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5"/>
            <a:ext cx="4123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4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29273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2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4"/>
            <a:ext cx="4572000" cy="2573337"/>
          </a:xfrm>
          <a:solidFill>
            <a:schemeClr val="tx1"/>
          </a:solidFill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4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87735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384048" tIns="310896" rIns="384048" bIns="228600"/>
          <a:lstStyle>
            <a:lvl1pPr>
              <a:defRPr sz="479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4"/>
            <a:ext cx="2286000" cy="2573337"/>
          </a:xfrm>
          <a:solidFill>
            <a:srgbClr val="061F80"/>
          </a:solidFill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4"/>
            <a:ext cx="2286000" cy="2573337"/>
          </a:xfrm>
          <a:solidFill>
            <a:srgbClr val="054ADA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solidFill>
            <a:schemeClr val="accent2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solidFill>
            <a:srgbClr val="6EA6FF"/>
          </a:solidFill>
          <a:ln>
            <a:noFill/>
          </a:ln>
        </p:spPr>
        <p:txBody>
          <a:bodyPr lIns="457200" tIns="38404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7411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92840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2571750"/>
            <a:ext cx="2286003" cy="2571750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999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999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999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8667" y="201614"/>
            <a:ext cx="4143375" cy="42941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5475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solidFill>
            <a:srgbClr val="6EA6FF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83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86000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5"/>
            <a:ext cx="6400800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60688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05414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87888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2505456" y="1243585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79179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9"/>
            <a:ext cx="1837944" cy="4294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9"/>
            <a:ext cx="6409876" cy="429463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95880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11775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390026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33088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4"/>
            <a:ext cx="4123944" cy="1309877"/>
          </a:xfrm>
        </p:spPr>
        <p:txBody>
          <a:bodyPr/>
          <a:lstStyle>
            <a:lvl1pPr>
              <a:spcBef>
                <a:spcPts val="0"/>
              </a:spcBef>
              <a:defRPr sz="999"/>
            </a:lvl1pPr>
            <a:lvl2pPr marL="0" indent="0">
              <a:spcBef>
                <a:spcPts val="0"/>
              </a:spcBef>
              <a:buNone/>
              <a:defRPr/>
            </a:lvl2pPr>
            <a:lvl3pPr marL="201413" indent="0">
              <a:buNone/>
              <a:defRPr/>
            </a:lvl3pPr>
            <a:lvl4pPr marL="434546" indent="0">
              <a:buNone/>
              <a:defRPr/>
            </a:lvl4pPr>
            <a:lvl5pPr marL="6312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3659" y="3205696"/>
            <a:ext cx="6405743" cy="1309877"/>
          </a:xfrm>
        </p:spPr>
        <p:txBody>
          <a:bodyPr anchor="b"/>
          <a:lstStyle>
            <a:lvl1pPr>
              <a:spcBef>
                <a:spcPts val="300"/>
              </a:spcBef>
              <a:defRPr sz="599"/>
            </a:lvl1pPr>
            <a:lvl2pPr>
              <a:defRPr sz="599"/>
            </a:lvl2pPr>
            <a:lvl3pPr>
              <a:defRPr sz="599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01080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5" y="2315617"/>
            <a:ext cx="1292095" cy="512270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19825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6205" y="2188845"/>
            <a:ext cx="1414463" cy="525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3881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2668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33048-22A7-4B3F-9586-6541C58F28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7039AD-16FA-4DBC-8585-6C519EF777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39422A-8E2B-43C0-A8C9-8872B1790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B105AC-2271-40D7-8AD6-13E57B1EB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9EE91E-529E-4084-9E62-990976CC1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14778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DD655-33D4-46A9-B2CA-25C14EDDC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20553E-8455-4621-B65C-116B21850D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9C89EA-D91B-4B2B-928E-AEED039E9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35C08-CFD9-4E27-A774-4FF9316AB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55FA2-1E1D-40D5-981E-4ADE6FB0C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51600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1A022-D8E9-4FB0-BA50-017802C27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7A153B-65CF-41AE-BEA9-F08219DFA1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558F16-A7CE-4046-8E02-A1DEE5C7F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B423D2-CB79-4E82-B303-10130C09D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9666D5-3D9D-45E4-AD74-82D2C6EE0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29477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8340F-162D-4844-9846-8FF8D9B8C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CA0C68-3664-4ED7-84BC-1EF4DCCABA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16977A-7EFE-49F9-AD28-7866023837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012717-F4BE-4960-9746-C76E3B6C4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4F171A-B057-40CC-8CEF-3F3CC7399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A95ADF-3382-48AE-83E4-8F2A6E4D8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18813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A1B90-CCE5-4581-877A-7A27FF645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2D78A3-505F-4288-A8B1-C8CE0373FF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60D24A-4385-4AF4-976E-A6D82FC53D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1D381F-8151-4445-B72D-18129DC8B2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D148F3-E353-492F-9859-BA02609F8D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7F30C8D-DC31-4CAF-B600-398C1C252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626054-FED7-47A7-8425-203801CEE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4CA059-5951-44D0-8F41-9DB5E4160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70523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CA08B-AA4E-4A03-938D-82C5CF6D5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895A6A-7671-4E70-95C7-22F88C29C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D5DD90-5196-4844-8C26-2AF094A80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D7F641-EDB4-4BEA-B73B-8DE9AECE9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98095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33284C-63FF-4893-83F0-3F4679A38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97A51C-AB31-4A0F-8CA2-AD402136C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92A84-2E72-4FBA-ADF0-CDA26A505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68273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70BA2-2972-4144-A64D-1D1497A1E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5C2B90-EB27-42BC-856C-AE7FA24AB1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F14EC3-8596-48F7-9C31-C4CDAF69AA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2F0CA8-1E53-4591-AF8C-A65C328A6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CFB8A1-57E2-4370-86A6-AFE9900EB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603D22-0E28-4569-A1D7-66354E2FD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40701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2B6795-6E08-4B3F-9936-FA61F0997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61E9EE-81D2-4363-BC1C-C8A6775611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1EDDD6-D283-4F82-8DC0-475CCB3670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FD75C4-E6E3-449C-951D-D084C9C9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6AD151-28C2-46C7-82CE-1B0868122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C94AA3-ACCD-4390-A62B-39FBC5F78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59682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9269D-A444-45D8-BD1A-F0187E3CF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47A195-F3D9-4660-A314-519BE29FB8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495103-9B2F-4BD6-ADB0-F51AD6578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6409CD-518E-445D-BBFD-C434415F8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206303-0521-48A3-B555-A45E5CFF3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888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2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2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962358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802ED00-723A-4B61-94A7-0A02187D42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A4987E-5FCE-4AC8-9A0C-149462CD8D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854EA6-1632-4627-89EC-0886274D1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056C78-8653-4C2E-8ED9-2BA9E44F7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D06D05-5174-4C8F-8EBD-6A38D86E5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16115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&amp; Red Hat / EDGE Computing / © 2020 IBM Corporation</a:t>
            </a:r>
            <a:endParaRPr lang="en-US" dirty="0"/>
          </a:p>
        </p:txBody>
      </p:sp>
      <p:pic>
        <p:nvPicPr>
          <p:cNvPr id="5" name="Logo" descr="IBM + RedHat logo">
            <a:extLst>
              <a:ext uri="{FF2B5EF4-FFF2-40B4-BE49-F238E27FC236}">
                <a16:creationId xmlns:a16="http://schemas.microsoft.com/office/drawing/2014/main" id="{F96E77C2-F822-E348-AFD1-27D7D095B3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054149" y="4486989"/>
            <a:ext cx="2071390" cy="61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39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blue">
    <p:bg>
      <p:bgPr>
        <a:solidFill>
          <a:srgbClr val="041B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 b="0" i="0">
                <a:latin typeface="IBM Plex Sans" panose="020B0503050203000203" pitchFamily="34" charset="0"/>
                <a:ea typeface="IBM Plex Sans" panose="020B0503050203000203" pitchFamily="34" charset="0"/>
                <a:cs typeface="IBM Plex Sans" panose="020B0503050203000203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51" y="428626"/>
            <a:ext cx="4143375" cy="3286125"/>
          </a:xfrm>
        </p:spPr>
        <p:txBody>
          <a:bodyPr>
            <a:noAutofit/>
          </a:bodyPr>
          <a:lstStyle>
            <a:lvl1pPr>
              <a:defRPr sz="3375" b="1">
                <a:solidFill>
                  <a:schemeClr val="bg2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D779CAB-EF3D-FF43-9ED4-FC77793B4F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751" y="3886201"/>
            <a:ext cx="4143375" cy="714375"/>
          </a:xfrm>
        </p:spPr>
        <p:txBody>
          <a:bodyPr tIns="0" anchor="t"/>
          <a:lstStyle>
            <a:lvl1pPr marL="0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bg2"/>
                </a:solidFill>
                <a:latin typeface="IBM Plex Sans" panose="020B0503050203000203" pitchFamily="34" charset="0"/>
              </a:defRPr>
            </a:lvl1pPr>
          </a:lstStyle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latin typeface="+mn-lt"/>
                <a:ea typeface="IBM Plex Sans" charset="0"/>
                <a:cs typeface="IBM Plex Sans" charset="0"/>
              </a:rPr>
              <a:t>First </a:t>
            </a:r>
            <a:r>
              <a:rPr lang="en-US" b="1" dirty="0" err="1">
                <a:latin typeface="+mn-lt"/>
                <a:ea typeface="IBM Plex Sans" charset="0"/>
                <a:cs typeface="IBM Plex Sans" charset="0"/>
              </a:rPr>
              <a:t>Lastname</a:t>
            </a:r>
            <a:r>
              <a:rPr lang="en-US" b="1" dirty="0">
                <a:latin typeface="+mn-lt"/>
                <a:ea typeface="IBM Plex Sans" charset="0"/>
                <a:cs typeface="IBM Plex Sans" charset="0"/>
              </a:rPr>
              <a:t> </a:t>
            </a:r>
            <a:r>
              <a:rPr lang="en-US" dirty="0">
                <a:latin typeface="+mn-lt"/>
                <a:ea typeface="IBM Plex Sans" charset="0"/>
                <a:cs typeface="IBM Plex Sans" charset="0"/>
              </a:rPr>
              <a:t>| IBM Job Title</a:t>
            </a:r>
          </a:p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+mn-lt"/>
                <a:ea typeface="IBM Plex Sans" charset="0"/>
                <a:cs typeface="IBM Plex Sans" charset="0"/>
              </a:rPr>
              <a:t>Location |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FEC50E-14FB-0E45-A0A0-71D7AB81F0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1816" y="4786660"/>
            <a:ext cx="58643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033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blue">
    <p:bg>
      <p:bgPr>
        <a:solidFill>
          <a:srgbClr val="041B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5751" y="213797"/>
            <a:ext cx="8492489" cy="560370"/>
          </a:xfrm>
        </p:spPr>
        <p:txBody>
          <a:bodyPr>
            <a:noAutofit/>
          </a:bodyPr>
          <a:lstStyle>
            <a:lvl1pPr>
              <a:defRPr sz="3375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026414-ABDA-5D4E-8F64-C571EB9BB1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5750" y="1321594"/>
            <a:ext cx="8492729" cy="230266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125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031A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E0CD3-BFF1-7249-B593-1DDD83AB5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13794"/>
            <a:ext cx="4114800" cy="7143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2443D40-94A7-2843-8A73-A58321D1C2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5750" y="1321594"/>
            <a:ext cx="8492729" cy="230266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62624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031A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E0CD3-BFF1-7249-B593-1DDD83AB5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13794"/>
            <a:ext cx="4114800" cy="7143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198A7068-3A24-4242-90C8-BC2F7FEFC04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440B5E96-9B33-DC45-9ECA-C713CA1678C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3565D379-EF9F-A549-8A41-A1A7FAE78A9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572002" y="2571750"/>
            <a:ext cx="2285997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3E8C341-A8B7-8E4B-9CAA-3D533568590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7871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BM">
    <p:bg>
      <p:bgPr>
        <a:solidFill>
          <a:srgbClr val="021B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bm_gry.png"/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9426" y="1917954"/>
            <a:ext cx="3225151" cy="1307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159648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193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3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3"/>
          <p:cNvSpPr txBox="1">
            <a:spLocks noChangeArrowheads="1"/>
          </p:cNvSpPr>
          <p:nvPr userDrawn="1"/>
        </p:nvSpPr>
        <p:spPr bwMode="auto">
          <a:xfrm>
            <a:off x="8145068" y="4922044"/>
            <a:ext cx="535781" cy="183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r" defTabSz="685647"/>
            <a:fld id="{90DF0DC3-FFA4-FA4F-8CBA-D4254569DE4D}" type="slidenum">
              <a:rPr lang="en-US" altLang="en-US" sz="900">
                <a:solidFill>
                  <a:srgbClr val="7F7F7F"/>
                </a:solidFill>
                <a:latin typeface="IBM Plex Sans" panose="020B0503050203000203" pitchFamily="34" charset="0"/>
                <a:ea typeface="Arial" charset="0"/>
                <a:cs typeface="Arial" charset="0"/>
              </a:rPr>
              <a:pPr algn="r" defTabSz="685647"/>
              <a:t>‹#›</a:t>
            </a:fld>
            <a:endParaRPr lang="en-US" altLang="en-US" sz="900">
              <a:solidFill>
                <a:srgbClr val="7F7F7F"/>
              </a:solidFill>
              <a:latin typeface="IBM Plex Sans" panose="020B0503050203000203" pitchFamily="34" charset="0"/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44103" y="4908949"/>
            <a:ext cx="7272338" cy="207749"/>
          </a:xfrm>
          <a:prstGeom prst="rect">
            <a:avLst/>
          </a:prstGeom>
          <a:noFill/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defTabSz="685647"/>
            <a:r>
              <a:rPr lang="en-US" altLang="en-US" sz="750">
                <a:solidFill>
                  <a:srgbClr val="7F7F7F"/>
                </a:solidFill>
                <a:latin typeface="IBM Plex Sans" panose="020B0503050203000203" pitchFamily="34" charset="0"/>
                <a:ea typeface="Arial" charset="0"/>
                <a:cs typeface="Arial" charset="0"/>
              </a:rPr>
              <a:t>Copyright © 2016 IBM  All rights reserved.                              </a:t>
            </a:r>
            <a:endParaRPr lang="en-US" altLang="en-US" sz="750" b="1">
              <a:solidFill>
                <a:srgbClr val="FF0000"/>
              </a:solidFill>
              <a:latin typeface="IBM Plex Sans" panose="020B0503050203000203" pitchFamily="34" charset="0"/>
              <a:ea typeface="Arial" charset="0"/>
              <a:cs typeface="Arial" charset="0"/>
            </a:endParaRPr>
          </a:p>
        </p:txBody>
      </p:sp>
      <p:pic>
        <p:nvPicPr>
          <p:cNvPr id="7" name="Picture 4" descr="Untitled-1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5726" y="4739880"/>
            <a:ext cx="822722" cy="88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40"/>
          <p:cNvSpPr txBox="1">
            <a:spLocks noChangeArrowheads="1"/>
          </p:cNvSpPr>
          <p:nvPr userDrawn="1"/>
        </p:nvSpPr>
        <p:spPr bwMode="auto">
          <a:xfrm>
            <a:off x="8354617" y="4770642"/>
            <a:ext cx="340519" cy="6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1306513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1306513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1306513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1306513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1306513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455DF285-E4CE-7944-B9D1-86C2F2F22B88}" type="slidenum">
              <a:rPr lang="en-US" altLang="en-US" sz="450" smtClean="0">
                <a:solidFill>
                  <a:srgbClr val="000000"/>
                </a:solidFill>
                <a:latin typeface="IBM Plex Sans" panose="020B0503050203000203" pitchFamily="34" charset="0"/>
                <a:ea typeface="MS PGothic" charset="-128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en-US" sz="450">
              <a:solidFill>
                <a:srgbClr val="000000"/>
              </a:solidFill>
              <a:latin typeface="IBM Plex Sans" panose="020B0503050203000203" pitchFamily="34" charset="0"/>
              <a:ea typeface="MS PGothic" charset="-128"/>
            </a:endParaRPr>
          </a:p>
        </p:txBody>
      </p:sp>
      <p:pic>
        <p:nvPicPr>
          <p:cNvPr id="9" name="Picture 6"/>
          <p:cNvPicPr preferRelativeResize="0"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675" y="4676775"/>
            <a:ext cx="360760" cy="144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458779" y="1048749"/>
            <a:ext cx="8244900" cy="3249418"/>
          </a:xfrm>
        </p:spPr>
        <p:txBody>
          <a:bodyPr/>
          <a:lstStyle>
            <a:lvl1pPr marL="0" marR="0" indent="0" algn="l" defTabSz="6722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71">
                <a:solidFill>
                  <a:schemeClr val="bg2"/>
                </a:solidFill>
                <a:latin typeface="IBM Plex Sans" panose="020B0503050203000203" pitchFamily="34" charset="0"/>
              </a:defRPr>
            </a:lvl1pPr>
            <a:lvl2pPr marL="336107" marR="0" indent="-100832" algn="l" defTabSz="672215" rtl="0" eaLnBrk="1" fontAlgn="auto" latinLnBrk="0" hangingPunct="1">
              <a:lnSpc>
                <a:spcPct val="100000"/>
              </a:lnSpc>
              <a:spcBef>
                <a:spcPts val="221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>
                <a:solidFill>
                  <a:schemeClr val="bg2"/>
                </a:solidFill>
                <a:latin typeface="IBM Plex Sans" panose="020B0503050203000203" pitchFamily="34" charset="0"/>
              </a:defRPr>
            </a:lvl2pPr>
            <a:lvl3pPr marL="504161" marR="0" indent="-100832" algn="l" defTabSz="6722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>
                <a:solidFill>
                  <a:schemeClr val="bg2"/>
                </a:solidFill>
                <a:latin typeface="IBM Plex Sans" panose="020B0503050203000203" pitchFamily="34" charset="0"/>
              </a:defRPr>
            </a:lvl3pPr>
            <a:lvl4pPr marL="672215" marR="0" indent="-100832" algn="l" defTabSz="6722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>
                <a:solidFill>
                  <a:schemeClr val="bg2"/>
                </a:solidFill>
                <a:latin typeface="IBM Plex Sans" panose="020B0503050203000203" pitchFamily="34" charset="0"/>
              </a:defRPr>
            </a:lvl4pPr>
            <a:lvl5pPr marL="840268" marR="0" indent="-100832" algn="l" defTabSz="6722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>
                <a:solidFill>
                  <a:schemeClr val="bg2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892558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060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Fast Start 2020 Title Slide">
    <p:bg>
      <p:bgPr>
        <a:gradFill flip="none" rotWithShape="1">
          <a:gsLst>
            <a:gs pos="0">
              <a:srgbClr val="0645CE"/>
            </a:gs>
            <a:gs pos="49917">
              <a:srgbClr val="0631A6"/>
            </a:gs>
            <a:gs pos="100000">
              <a:srgbClr val="06218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19A949-F408-AF4C-B080-3774E5665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1476655992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2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23530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95611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7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DD655-33D4-46A9-B2CA-25C14EDDC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20553E-8455-4621-B65C-116B21850D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9C89EA-D91B-4B2B-928E-AEED039E9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35C08-CFD9-4E27-A774-4FF9316AB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455FA2-1E1D-40D5-981E-4ADE6FB0C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47894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2" y="3004032"/>
            <a:ext cx="8229124" cy="1692137"/>
          </a:xfrm>
        </p:spPr>
        <p:txBody>
          <a:bodyPr/>
          <a:lstStyle>
            <a:lvl1pPr>
              <a:spcBef>
                <a:spcPts val="169"/>
              </a:spcBef>
              <a:spcAft>
                <a:spcPts val="56"/>
              </a:spcAft>
              <a:defRPr/>
            </a:lvl1pPr>
            <a:lvl2pPr>
              <a:spcBef>
                <a:spcPts val="113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5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25177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86800" cy="864308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1" y="1136650"/>
            <a:ext cx="8686800" cy="3562350"/>
          </a:xfrm>
        </p:spPr>
        <p:txBody>
          <a:bodyPr/>
          <a:lstStyle>
            <a:lvl1pPr marL="285743" marR="0" indent="-285743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284A5F"/>
              </a:buClr>
              <a:buSzTx/>
              <a:buFont typeface="Arial" panose="020B0604020202020204" pitchFamily="34" charset="0"/>
              <a:buChar char="•"/>
              <a:tabLst/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4" indent="-173034">
              <a:buClr>
                <a:srgbClr val="284A5F"/>
              </a:buClr>
              <a:buFont typeface="Arial" panose="020B0604020202020204" pitchFamily="34" charset="0"/>
              <a:buChar char="•"/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211138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462" y="159637"/>
            <a:ext cx="8888653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kern="0" dirty="0"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459" y="4893469"/>
            <a:ext cx="2124075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800">
                <a:solidFill>
                  <a:schemeClr val="tx1">
                    <a:lumMod val="75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>
              <a:defRPr/>
            </a:pPr>
            <a:fld id="{92EDDE8C-FCD3-47EF-B8D4-5308179AEE2C}" type="slidenum">
              <a:rPr lang="en-US" smtClean="0">
                <a:solidFill>
                  <a:srgbClr val="6D6E70">
                    <a:lumMod val="75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D6E7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02416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t Sapphire Now / June 5–7, 2019 / © 2019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09921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CHE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C88D178-612F-8246-BC02-06A9A5A09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027" y="169243"/>
            <a:ext cx="8907946" cy="669131"/>
          </a:xfrm>
        </p:spPr>
        <p:txBody>
          <a:bodyPr anchor="t" anchorCtr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13554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67765" y="130596"/>
            <a:ext cx="8229600" cy="588822"/>
          </a:xfrm>
          <a:prstGeom prst="rect">
            <a:avLst/>
          </a:prstGeom>
        </p:spPr>
        <p:txBody>
          <a:bodyPr/>
          <a:lstStyle>
            <a:lvl1pPr algn="l">
              <a:defRPr sz="2199" b="1">
                <a:solidFill>
                  <a:srgbClr val="003B5D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67765" y="851651"/>
            <a:ext cx="8232588" cy="3689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0" baseline="0">
                <a:solidFill>
                  <a:srgbClr val="003B5D"/>
                </a:solidFill>
                <a:latin typeface="Calibri" panose="020F0502020204030204" pitchFamily="34" charset="0"/>
              </a:defRPr>
            </a:lvl1pPr>
            <a:lvl2pPr>
              <a:defRPr sz="1636">
                <a:solidFill>
                  <a:srgbClr val="003B5D"/>
                </a:solidFill>
                <a:latin typeface="DINPro-Medium"/>
              </a:defRPr>
            </a:lvl2pPr>
            <a:lvl3pPr>
              <a:defRPr sz="1534">
                <a:solidFill>
                  <a:srgbClr val="003B5D"/>
                </a:solidFill>
                <a:latin typeface="DINPro-Medium"/>
              </a:defRPr>
            </a:lvl3pPr>
            <a:lvl4pPr>
              <a:defRPr sz="1381">
                <a:solidFill>
                  <a:srgbClr val="003B5D"/>
                </a:solidFill>
                <a:latin typeface="DINPro-Medium"/>
              </a:defRPr>
            </a:lvl4pPr>
            <a:lvl5pPr>
              <a:defRPr sz="1381">
                <a:latin typeface="DINPro-Regular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8731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39549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714FAAD2-F7FB-CA47-9AB2-AE20D708CA07}"/>
              </a:ext>
            </a:extLst>
          </p:cNvPr>
          <p:cNvSpPr txBox="1">
            <a:spLocks/>
          </p:cNvSpPr>
          <p:nvPr userDrawn="1"/>
        </p:nvSpPr>
        <p:spPr>
          <a:xfrm>
            <a:off x="8772527" y="4931765"/>
            <a:ext cx="219075" cy="15225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rgbClr val="FFFFFF"/>
                </a:solidFill>
                <a:latin typeface="Arial"/>
                <a:ea typeface="ヒラギノ角ゴ Pro W3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 defTabSz="912665" hangingPunct="1">
              <a:defRPr/>
            </a:pPr>
            <a:fld id="{9DABAC82-0E5C-1B4D-8639-2A26187BE511}" type="slidenum">
              <a:rPr lang="de-DE" sz="600" smtClean="0">
                <a:solidFill>
                  <a:schemeClr val="tx2"/>
                </a:solidFill>
                <a:sym typeface="Chalkduster"/>
              </a:rPr>
              <a:pPr algn="ctr" defTabSz="912665" hangingPunct="1">
                <a:defRPr/>
              </a:pPr>
              <a:t>‹#›</a:t>
            </a:fld>
            <a:endParaRPr lang="de-DE" sz="600" dirty="0">
              <a:solidFill>
                <a:schemeClr val="tx2"/>
              </a:solidFill>
              <a:sym typeface="Chalkduster"/>
            </a:endParaRPr>
          </a:p>
        </p:txBody>
      </p:sp>
    </p:spTree>
    <p:extLst>
      <p:ext uri="{BB962C8B-B14F-4D97-AF65-F5344CB8AC3E}">
        <p14:creationId xmlns:p14="http://schemas.microsoft.com/office/powerpoint/2010/main" val="80853012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92024"/>
            <a:ext cx="4114800" cy="51130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123957"/>
            <a:ext cx="4114800" cy="346205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568642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51454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-1"/>
            <a:ext cx="9143999" cy="806650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D45A5C-B17A-49BD-97A0-6B41EC13EB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4259" y="4886339"/>
            <a:ext cx="353824" cy="142875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26EB91D-66A7-4338-A5AD-D2D526A9D25D}"/>
              </a:ext>
            </a:extLst>
          </p:cNvPr>
          <p:cNvSpPr txBox="1">
            <a:spLocks/>
          </p:cNvSpPr>
          <p:nvPr userDrawn="1"/>
        </p:nvSpPr>
        <p:spPr>
          <a:xfrm>
            <a:off x="571500" y="4937762"/>
            <a:ext cx="838594" cy="13690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b="0" i="0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250" b="0" i="0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500" b="0" i="0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2019 IBM Corporation</a:t>
            </a:r>
            <a:r>
              <a:rPr lang="en-US" sz="500" b="0" i="0" baseline="0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500" b="0" i="0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A61F53EA-470F-49F2-8667-3C6691110295}"/>
              </a:ext>
            </a:extLst>
          </p:cNvPr>
          <p:cNvSpPr txBox="1">
            <a:spLocks/>
          </p:cNvSpPr>
          <p:nvPr userDrawn="1"/>
        </p:nvSpPr>
        <p:spPr>
          <a:xfrm>
            <a:off x="1410094" y="4937286"/>
            <a:ext cx="857250" cy="13785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500" b="0" i="0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5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10 August 2020</a:t>
            </a:fld>
            <a:endParaRPr lang="en-US" sz="5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550B180-03F9-4FC0-A274-5EE7E639E778}"/>
              </a:ext>
            </a:extLst>
          </p:cNvPr>
          <p:cNvSpPr txBox="1">
            <a:spLocks/>
          </p:cNvSpPr>
          <p:nvPr userDrawn="1"/>
        </p:nvSpPr>
        <p:spPr>
          <a:xfrm>
            <a:off x="284287" y="4933621"/>
            <a:ext cx="204925" cy="13690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5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5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09258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ybook – p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0"/>
            <a:ext cx="2286000" cy="5143500"/>
          </a:xfrm>
          <a:prstGeom prst="rect">
            <a:avLst/>
          </a:prstGeom>
          <a:solidFill>
            <a:srgbClr val="0062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rgbClr val="191919"/>
              </a:solidFill>
              <a:effectLst/>
              <a:latin typeface="HelvNeue Light for IBM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E1AAA63-8B17-D640-B759-577E34BEAA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892" r="-1130"/>
          <a:stretch/>
        </p:blipFill>
        <p:spPr>
          <a:xfrm>
            <a:off x="8503921" y="4737608"/>
            <a:ext cx="414205" cy="16459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8BE400A-6635-DB4B-9987-858CDC0B4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475488"/>
            <a:ext cx="1828800" cy="6858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0056451-F4C5-084C-9A3D-84A765748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14600" y="228600"/>
            <a:ext cx="1828800" cy="434340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5pPr>
          </a:lstStyle>
          <a:p>
            <a:pPr lvl="0"/>
            <a:r>
              <a:rPr lang="en-US" dirty="0"/>
              <a:t>Text level</a:t>
            </a:r>
          </a:p>
          <a:p>
            <a:pPr lvl="1"/>
            <a:r>
              <a:rPr lang="en-US" dirty="0"/>
              <a:t>Bullet level one</a:t>
            </a:r>
          </a:p>
          <a:p>
            <a:pPr lvl="2"/>
            <a:r>
              <a:rPr lang="en-US" dirty="0"/>
              <a:t>Bullet level two</a:t>
            </a:r>
          </a:p>
          <a:p>
            <a:pPr lvl="3"/>
            <a:r>
              <a:rPr lang="en-US" dirty="0"/>
              <a:t>Bullet level three</a:t>
            </a:r>
          </a:p>
          <a:p>
            <a:pPr lvl="4"/>
            <a:r>
              <a:rPr lang="en-US" dirty="0"/>
              <a:t>Bullet level four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48C21F3-B300-D049-9D39-44E1762D01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600" y="228600"/>
            <a:ext cx="1828800" cy="434340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5pPr>
          </a:lstStyle>
          <a:p>
            <a:pPr lvl="0"/>
            <a:r>
              <a:rPr lang="en-US" dirty="0"/>
              <a:t>Text level</a:t>
            </a:r>
          </a:p>
          <a:p>
            <a:pPr lvl="1"/>
            <a:r>
              <a:rPr lang="en-US" dirty="0"/>
              <a:t>Bullet level one</a:t>
            </a:r>
          </a:p>
          <a:p>
            <a:pPr lvl="2"/>
            <a:r>
              <a:rPr lang="en-US" dirty="0"/>
              <a:t>Bullet level two</a:t>
            </a:r>
          </a:p>
          <a:p>
            <a:pPr lvl="3"/>
            <a:r>
              <a:rPr lang="en-US" dirty="0"/>
              <a:t>Bullet level three</a:t>
            </a:r>
          </a:p>
          <a:p>
            <a:pPr lvl="4"/>
            <a:r>
              <a:rPr lang="en-US" dirty="0"/>
              <a:t>Bullet level fou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6E204FF6-4714-0E46-ABF5-E5D3D09494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86600" y="228600"/>
            <a:ext cx="1828800" cy="434340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900" b="0"/>
            </a:lvl5pPr>
          </a:lstStyle>
          <a:p>
            <a:pPr lvl="0"/>
            <a:r>
              <a:rPr lang="en-US" dirty="0"/>
              <a:t>Text level</a:t>
            </a:r>
          </a:p>
          <a:p>
            <a:pPr lvl="1"/>
            <a:r>
              <a:rPr lang="en-US" dirty="0"/>
              <a:t>Bullet level one</a:t>
            </a:r>
          </a:p>
          <a:p>
            <a:pPr lvl="2"/>
            <a:r>
              <a:rPr lang="en-US" dirty="0"/>
              <a:t>Bullet level two</a:t>
            </a:r>
          </a:p>
          <a:p>
            <a:pPr lvl="3"/>
            <a:r>
              <a:rPr lang="en-US" dirty="0"/>
              <a:t>Bullet level three</a:t>
            </a:r>
          </a:p>
          <a:p>
            <a:pPr lvl="4"/>
            <a:r>
              <a:rPr lang="en-US" dirty="0"/>
              <a:t>Bullet level fou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92E75D-ACEE-6D49-8932-07D92225D6D9}"/>
              </a:ext>
            </a:extLst>
          </p:cNvPr>
          <p:cNvCxnSpPr>
            <a:cxnSpLocks/>
          </p:cNvCxnSpPr>
          <p:nvPr userDrawn="1"/>
        </p:nvCxnSpPr>
        <p:spPr>
          <a:xfrm>
            <a:off x="4564049" y="238126"/>
            <a:ext cx="0" cy="4257675"/>
          </a:xfrm>
          <a:prstGeom prst="line">
            <a:avLst/>
          </a:prstGeom>
          <a:ln w="3175">
            <a:solidFill>
              <a:srgbClr val="BEBEB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A24A16-C33B-C749-8606-7B5CDC410A99}"/>
              </a:ext>
            </a:extLst>
          </p:cNvPr>
          <p:cNvCxnSpPr>
            <a:cxnSpLocks/>
          </p:cNvCxnSpPr>
          <p:nvPr userDrawn="1"/>
        </p:nvCxnSpPr>
        <p:spPr>
          <a:xfrm>
            <a:off x="6861976" y="238126"/>
            <a:ext cx="0" cy="4257675"/>
          </a:xfrm>
          <a:prstGeom prst="line">
            <a:avLst/>
          </a:prstGeom>
          <a:ln w="3175">
            <a:solidFill>
              <a:srgbClr val="BEBEB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20252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F4FF0-7E55-1542-80B5-EC6E33EB98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998560-6642-894F-BCCF-45E4FC6D47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ADAEB-190D-044F-843D-746D26A23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3D977-8966-F74D-8363-5B08FA683938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F88CD9-0A05-4946-8EC7-3AE77080A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33ED8-CA15-7145-B5A5-DE0664D20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E886D-60E4-0C4D-B9B3-45DB305E63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32031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338968"/>
      </p:ext>
    </p:extLst>
  </p:cSld>
  <p:clrMapOvr>
    <a:masterClrMapping/>
  </p:clrMapOvr>
  <p:hf hdr="0" dt="0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9762" y="3305179"/>
            <a:ext cx="5455434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39762" y="2180035"/>
            <a:ext cx="5455434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63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8527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7913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7055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71318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55827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9846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74110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2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03 Title and Content (abo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7013" y="179388"/>
            <a:ext cx="5599630" cy="9144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0080600-F1E8-064A-A215-89FBC5C50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600" y="4863073"/>
            <a:ext cx="3086100" cy="1529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Edge Computing</a:t>
            </a:r>
          </a:p>
        </p:txBody>
      </p:sp>
    </p:spTree>
    <p:extLst>
      <p:ext uri="{BB962C8B-B14F-4D97-AF65-F5344CB8AC3E}">
        <p14:creationId xmlns:p14="http://schemas.microsoft.com/office/powerpoint/2010/main" val="377691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201168"/>
            <a:ext cx="8699810" cy="6395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36DC29-8945-DD41-B6F9-9712EECCE9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1" y="1352551"/>
            <a:ext cx="8699809" cy="3316094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140107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455403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741CCAB-81F4-294A-945C-F3A24CA0743C}"/>
              </a:ext>
            </a:extLst>
          </p:cNvPr>
          <p:cNvSpPr txBox="1"/>
          <p:nvPr userDrawn="1"/>
        </p:nvSpPr>
        <p:spPr>
          <a:xfrm>
            <a:off x="0" y="-19050"/>
            <a:ext cx="9189720" cy="26160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lIns="91438" tIns="45719" rIns="91438" bIns="45719" rtlCol="0">
            <a:spAutoFit/>
          </a:bodyPr>
          <a:lstStyle/>
          <a:p>
            <a:endParaRPr lang="en-US" sz="1100" dirty="0"/>
          </a:p>
        </p:txBody>
      </p:sp>
      <p:pic>
        <p:nvPicPr>
          <p:cNvPr id="10" name="Picture 9" descr="avatar_crops_CS6_cvr.png">
            <a:extLst>
              <a:ext uri="{FF2B5EF4-FFF2-40B4-BE49-F238E27FC236}">
                <a16:creationId xmlns:a16="http://schemas.microsoft.com/office/drawing/2014/main" id="{C7426456-2EA8-BA47-A2E5-812A068762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1" r="23621" b="24332"/>
          <a:stretch>
            <a:fillRect/>
          </a:stretch>
        </p:blipFill>
        <p:spPr bwMode="auto">
          <a:xfrm>
            <a:off x="4972050" y="-114300"/>
            <a:ext cx="5875020" cy="515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855" y="430825"/>
            <a:ext cx="1189038" cy="314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907" y="3527500"/>
            <a:ext cx="3724095" cy="33644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1700" b="1" i="0" dirty="0">
                <a:solidFill>
                  <a:schemeClr val="bg1"/>
                </a:solidFill>
                <a:latin typeface="HelvNeue for IBM"/>
                <a:cs typeface="HelvNeue for IBM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47907" y="1967464"/>
            <a:ext cx="3724095" cy="120284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132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18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  <a:lvl2pPr>
              <a:spcBef>
                <a:spcPts val="300"/>
              </a:spcBef>
              <a:spcAft>
                <a:spcPts val="15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915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3" y="800103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78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3" y="3004032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56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815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 -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016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409" y="857250"/>
            <a:ext cx="4130906" cy="38290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571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28853"/>
            <a:ext cx="8229600" cy="628649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8" tIns="91438" bIns="91438" anchor="ctr"/>
          <a:lstStyle>
            <a:lvl1pPr algn="l">
              <a:defRPr sz="3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183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3" y="800100"/>
            <a:ext cx="4057121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100"/>
            </a:lvl4pPr>
            <a:lvl5pPr>
              <a:spcBef>
                <a:spcPts val="0"/>
              </a:spcBef>
              <a:spcAft>
                <a:spcPts val="0"/>
              </a:spcAft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100"/>
            </a:lvl4pPr>
            <a:lvl5pPr>
              <a:spcBef>
                <a:spcPts val="0"/>
              </a:spcBef>
              <a:spcAft>
                <a:spcPts val="0"/>
              </a:spcAft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4798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8654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3" y="800100"/>
            <a:ext cx="4057121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100"/>
            </a:lvl4pPr>
            <a:lvl5pPr>
              <a:spcBef>
                <a:spcPts val="0"/>
              </a:spcBef>
              <a:spcAft>
                <a:spcPts val="0"/>
              </a:spcAft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100"/>
            </a:lvl4pPr>
            <a:lvl5pPr>
              <a:spcBef>
                <a:spcPts val="0"/>
              </a:spcBef>
              <a:spcAft>
                <a:spcPts val="0"/>
              </a:spcAft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891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3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48" indent="0">
              <a:buNone/>
              <a:defRPr sz="1500" b="1"/>
            </a:lvl2pPr>
            <a:lvl3pPr marL="685698" indent="0">
              <a:buNone/>
              <a:defRPr sz="1400" b="1"/>
            </a:lvl3pPr>
            <a:lvl4pPr marL="1028546" indent="0">
              <a:buNone/>
              <a:defRPr sz="1200" b="1"/>
            </a:lvl4pPr>
            <a:lvl5pPr marL="1371395" indent="0">
              <a:buNone/>
              <a:defRPr sz="1200" b="1"/>
            </a:lvl5pPr>
            <a:lvl6pPr marL="1714244" indent="0">
              <a:buNone/>
              <a:defRPr sz="1200" b="1"/>
            </a:lvl6pPr>
            <a:lvl7pPr marL="2057093" indent="0">
              <a:buNone/>
              <a:defRPr sz="1200" b="1"/>
            </a:lvl7pPr>
            <a:lvl8pPr marL="2399940" indent="0">
              <a:buNone/>
              <a:defRPr sz="1200" b="1"/>
            </a:lvl8pPr>
            <a:lvl9pPr marL="2742788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3" y="1371601"/>
            <a:ext cx="4040455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48" indent="0">
              <a:buNone/>
              <a:defRPr sz="1500" b="1"/>
            </a:lvl2pPr>
            <a:lvl3pPr marL="685698" indent="0">
              <a:buNone/>
              <a:defRPr sz="1400" b="1"/>
            </a:lvl3pPr>
            <a:lvl4pPr marL="1028546" indent="0">
              <a:buNone/>
              <a:defRPr sz="1200" b="1"/>
            </a:lvl4pPr>
            <a:lvl5pPr marL="1371395" indent="0">
              <a:buNone/>
              <a:defRPr sz="1200" b="1"/>
            </a:lvl5pPr>
            <a:lvl6pPr marL="1714244" indent="0">
              <a:buNone/>
              <a:defRPr sz="1200" b="1"/>
            </a:lvl6pPr>
            <a:lvl7pPr marL="2057093" indent="0">
              <a:buNone/>
              <a:defRPr sz="1200" b="1"/>
            </a:lvl7pPr>
            <a:lvl8pPr marL="2399940" indent="0">
              <a:buNone/>
              <a:defRPr sz="1200" b="1"/>
            </a:lvl8pPr>
            <a:lvl9pPr marL="274278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762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3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48" indent="0">
              <a:buNone/>
              <a:defRPr sz="1500" b="1"/>
            </a:lvl2pPr>
            <a:lvl3pPr marL="685698" indent="0">
              <a:buNone/>
              <a:defRPr sz="1400" b="1"/>
            </a:lvl3pPr>
            <a:lvl4pPr marL="1028546" indent="0">
              <a:buNone/>
              <a:defRPr sz="1200" b="1"/>
            </a:lvl4pPr>
            <a:lvl5pPr marL="1371395" indent="0">
              <a:buNone/>
              <a:defRPr sz="1200" b="1"/>
            </a:lvl5pPr>
            <a:lvl6pPr marL="1714244" indent="0">
              <a:buNone/>
              <a:defRPr sz="1200" b="1"/>
            </a:lvl6pPr>
            <a:lvl7pPr marL="2057093" indent="0">
              <a:buNone/>
              <a:defRPr sz="1200" b="1"/>
            </a:lvl7pPr>
            <a:lvl8pPr marL="2399940" indent="0">
              <a:buNone/>
              <a:defRPr sz="1200" b="1"/>
            </a:lvl8pPr>
            <a:lvl9pPr marL="2742788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3" y="1371601"/>
            <a:ext cx="4040455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40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48" indent="0">
              <a:buNone/>
              <a:defRPr sz="1500" b="1"/>
            </a:lvl2pPr>
            <a:lvl3pPr marL="685698" indent="0">
              <a:buNone/>
              <a:defRPr sz="1400" b="1"/>
            </a:lvl3pPr>
            <a:lvl4pPr marL="1028546" indent="0">
              <a:buNone/>
              <a:defRPr sz="1200" b="1"/>
            </a:lvl4pPr>
            <a:lvl5pPr marL="1371395" indent="0">
              <a:buNone/>
              <a:defRPr sz="1200" b="1"/>
            </a:lvl5pPr>
            <a:lvl6pPr marL="1714244" indent="0">
              <a:buNone/>
              <a:defRPr sz="1200" b="1"/>
            </a:lvl6pPr>
            <a:lvl7pPr marL="2057093" indent="0">
              <a:buNone/>
              <a:defRPr sz="1200" b="1"/>
            </a:lvl7pPr>
            <a:lvl8pPr marL="2399940" indent="0">
              <a:buNone/>
              <a:defRPr sz="1200" b="1"/>
            </a:lvl8pPr>
            <a:lvl9pPr marL="274278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40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255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892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256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1" y="685800"/>
            <a:ext cx="3008318" cy="457200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3" y="685801"/>
            <a:ext cx="5111878" cy="3908822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41" y="1257301"/>
            <a:ext cx="3008318" cy="3337322"/>
          </a:xfrm>
        </p:spPr>
        <p:txBody>
          <a:bodyPr/>
          <a:lstStyle>
            <a:lvl1pPr marL="0" indent="0">
              <a:buNone/>
              <a:defRPr sz="1100"/>
            </a:lvl1pPr>
            <a:lvl2pPr marL="342848" indent="0">
              <a:buNone/>
              <a:defRPr sz="900"/>
            </a:lvl2pPr>
            <a:lvl3pPr marL="685698" indent="0">
              <a:buNone/>
              <a:defRPr sz="800"/>
            </a:lvl3pPr>
            <a:lvl4pPr marL="1028546" indent="0">
              <a:buNone/>
              <a:defRPr sz="700"/>
            </a:lvl4pPr>
            <a:lvl5pPr marL="1371395" indent="0">
              <a:buNone/>
              <a:defRPr sz="700"/>
            </a:lvl5pPr>
            <a:lvl6pPr marL="1714244" indent="0">
              <a:buNone/>
              <a:defRPr sz="700"/>
            </a:lvl6pPr>
            <a:lvl7pPr marL="2057093" indent="0">
              <a:buNone/>
              <a:defRPr sz="700"/>
            </a:lvl7pPr>
            <a:lvl8pPr marL="2399940" indent="0">
              <a:buNone/>
              <a:defRPr sz="700"/>
            </a:lvl8pPr>
            <a:lvl9pPr marL="2742788" indent="0">
              <a:buNone/>
              <a:defRPr sz="7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854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51" y="3600451"/>
            <a:ext cx="5485685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851" y="742953"/>
            <a:ext cx="5485685" cy="2802731"/>
          </a:xfrm>
        </p:spPr>
        <p:txBody>
          <a:bodyPr/>
          <a:lstStyle>
            <a:lvl1pPr marL="0" indent="0">
              <a:buNone/>
              <a:defRPr sz="2400"/>
            </a:lvl1pPr>
            <a:lvl2pPr marL="342848" indent="0">
              <a:buNone/>
              <a:defRPr sz="2100"/>
            </a:lvl2pPr>
            <a:lvl3pPr marL="685698" indent="0">
              <a:buNone/>
              <a:defRPr sz="1800"/>
            </a:lvl3pPr>
            <a:lvl4pPr marL="1028546" indent="0">
              <a:buNone/>
              <a:defRPr sz="1500"/>
            </a:lvl4pPr>
            <a:lvl5pPr marL="1371395" indent="0">
              <a:buNone/>
              <a:defRPr sz="1500"/>
            </a:lvl5pPr>
            <a:lvl6pPr marL="1714244" indent="0">
              <a:buNone/>
              <a:defRPr sz="1500"/>
            </a:lvl6pPr>
            <a:lvl7pPr marL="2057093" indent="0">
              <a:buNone/>
              <a:defRPr sz="1500"/>
            </a:lvl7pPr>
            <a:lvl8pPr marL="2399940" indent="0">
              <a:buNone/>
              <a:defRPr sz="1500"/>
            </a:lvl8pPr>
            <a:lvl9pPr marL="2742788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851" y="4025505"/>
            <a:ext cx="5485685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48" indent="0">
              <a:buNone/>
              <a:defRPr sz="900"/>
            </a:lvl2pPr>
            <a:lvl3pPr marL="685698" indent="0">
              <a:buNone/>
              <a:defRPr sz="800"/>
            </a:lvl3pPr>
            <a:lvl4pPr marL="1028546" indent="0">
              <a:buNone/>
              <a:defRPr sz="700"/>
            </a:lvl4pPr>
            <a:lvl5pPr marL="1371395" indent="0">
              <a:buNone/>
              <a:defRPr sz="700"/>
            </a:lvl5pPr>
            <a:lvl6pPr marL="1714244" indent="0">
              <a:buNone/>
              <a:defRPr sz="700"/>
            </a:lvl6pPr>
            <a:lvl7pPr marL="2057093" indent="0">
              <a:buNone/>
              <a:defRPr sz="700"/>
            </a:lvl7pPr>
            <a:lvl8pPr marL="2399940" indent="0">
              <a:buNone/>
              <a:defRPr sz="700"/>
            </a:lvl8pPr>
            <a:lvl9pPr marL="2742788" indent="0">
              <a:buNone/>
              <a:defRPr sz="7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994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183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728" y="742951"/>
            <a:ext cx="2057132" cy="385167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41" y="742951"/>
            <a:ext cx="6058302" cy="385167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649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2950"/>
            <a:ext cx="3895344" cy="4000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421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44755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 lIns="91438" tIns="45719" rIns="91438" bIns="45719"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 lIns="91438" tIns="45719" rIns="91438" bIns="45719"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42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288"/>
            <a:endParaRPr lang="en-US" sz="1800">
              <a:solidFill>
                <a:srgbClr val="1E88D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"/>
            <a:ext cx="9144000" cy="5573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288"/>
            <a:endParaRPr lang="en-US" sz="1800">
              <a:solidFill>
                <a:srgbClr val="1E88DA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39722" y="4920276"/>
            <a:ext cx="1192212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288"/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© 2017</a:t>
            </a:r>
            <a:r>
              <a:rPr lang="en-US" sz="600" baseline="0" dirty="0">
                <a:solidFill>
                  <a:srgbClr val="2D2D2D"/>
                </a:solidFill>
                <a:cs typeface="Arial" panose="020B0604020202020204" pitchFamily="34" charset="0"/>
              </a:rPr>
              <a:t> </a:t>
            </a:r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 IBM Corpor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914" y="59862"/>
            <a:ext cx="8463136" cy="471360"/>
          </a:xfrm>
        </p:spPr>
        <p:txBody>
          <a:bodyPr wrap="square" anchor="ctr" anchorCtr="0">
            <a:noAutofit/>
          </a:bodyPr>
          <a:lstStyle>
            <a:lvl1pPr>
              <a:lnSpc>
                <a:spcPts val="3000"/>
              </a:lnSpc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28634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83247-ADFA-479A-9785-1BA293DBD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3" y="4844145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58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F6648E-2BF3-41DC-A8C8-52F4F353E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F6648E-2BF3-41DC-A8C8-52F4F353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6560288" y="4226442"/>
            <a:ext cx="914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68579" tIns="34289" rIns="68579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576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B6F30-F0A4-4325-BBB8-ABA1B6CC3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3" y="4844145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02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28243" y="1057275"/>
            <a:ext cx="4687521" cy="302895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695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8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657012" y="4826480"/>
            <a:ext cx="1258388" cy="13716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EAE258F5-0BCE-8C4F-8059-D7C4C148EA6C}"/>
              </a:ext>
            </a:extLst>
          </p:cNvPr>
          <p:cNvSpPr txBox="1">
            <a:spLocks/>
          </p:cNvSpPr>
          <p:nvPr userDrawn="1"/>
        </p:nvSpPr>
        <p:spPr>
          <a:xfrm>
            <a:off x="228600" y="4895136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sz="60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732">
              <a:defRPr/>
            </a:pPr>
            <a:r>
              <a:rPr lang="de-DE" sz="600" dirty="0">
                <a:solidFill>
                  <a:srgbClr val="FFFFFF"/>
                </a:solidFill>
                <a:latin typeface="IBM Plex Sans"/>
                <a:sym typeface="Helvetica"/>
              </a:rPr>
              <a:t>IBM Cloud / June 2019 / © 2019 IBM Corporation</a:t>
            </a:r>
            <a:endParaRPr lang="en-US" sz="600" dirty="0">
              <a:solidFill>
                <a:srgbClr val="FFFFFF"/>
              </a:solidFill>
              <a:latin typeface="IBM Plex San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28569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1"/>
          </a:solidFill>
        </p:spPr>
        <p:txBody>
          <a:bodyPr lIns="228588" tIns="192015" rIns="228588" bIns="228588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588" tIns="192015" rIns="228588" bIns="228588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2571750"/>
            <a:ext cx="2285997" cy="2571750"/>
          </a:xfrm>
          <a:solidFill>
            <a:schemeClr val="accent2"/>
          </a:solidFill>
        </p:spPr>
        <p:txBody>
          <a:bodyPr lIns="228588" tIns="192015" rIns="228588" bIns="228588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bg1"/>
          </a:solidFill>
        </p:spPr>
        <p:txBody>
          <a:bodyPr lIns="228588" tIns="192015" rIns="228588" bIns="228588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lIns="91436" tIns="45718" rIns="91436" bIns="45718"/>
          <a:lstStyle/>
          <a:p>
            <a:fld id="{3FD999D4-B456-9943-89B7-30D56181CE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>
                <a:solidFill>
                  <a:srgbClr val="FFFFFF"/>
                </a:solidFill>
              </a:rPr>
              <a:t>2019 / © 2019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" y="-1"/>
            <a:ext cx="9143999" cy="2571751"/>
          </a:xfrm>
          <a:solidFill>
            <a:schemeClr val="tx1"/>
          </a:solidFill>
        </p:spPr>
        <p:txBody>
          <a:bodyPr lIns="228588" tIns="155440" rIns="228588" bIns="228588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23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4693079"/>
            <a:ext cx="521589" cy="20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19872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gradient">
    <p:bg>
      <p:bgPr>
        <a:gradFill>
          <a:gsLst>
            <a:gs pos="6000">
              <a:srgbClr val="0062FF"/>
            </a:gs>
            <a:gs pos="100000">
              <a:srgbClr val="7D80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4693079"/>
            <a:ext cx="521589" cy="20679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CE6F5-79DA-174B-8107-26D916568F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555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8"/>
            <a:ext cx="4114800" cy="3687607"/>
          </a:xfrm>
        </p:spPr>
        <p:txBody>
          <a:bodyPr/>
          <a:lstStyle>
            <a:lvl1pPr>
              <a:defRPr sz="2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8"/>
            <a:ext cx="4114800" cy="3566477"/>
          </a:xfrm>
        </p:spPr>
        <p:txBody>
          <a:bodyPr/>
          <a:lstStyle>
            <a:lvl1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8629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485796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86127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gry">
    <p:bg>
      <p:bgPr>
        <a:solidFill>
          <a:srgbClr val="3D3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5935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37162" y="91440"/>
            <a:ext cx="8905239" cy="4404360"/>
          </a:xfrm>
        </p:spPr>
        <p:txBody>
          <a:bodyPr/>
          <a:lstStyle>
            <a:lvl1pPr>
              <a:defRPr sz="2398" b="0" i="0"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hange this type size to 192 </a:t>
            </a:r>
            <a:br>
              <a:rPr lang="en-US" dirty="0"/>
            </a:br>
            <a:r>
              <a:rPr lang="en-US" dirty="0"/>
              <a:t>before typing your headlin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05213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gradient">
    <p:bg>
      <p:bgPr>
        <a:gradFill>
          <a:gsLst>
            <a:gs pos="6000">
              <a:srgbClr val="0062FF"/>
            </a:gs>
            <a:gs pos="100000">
              <a:srgbClr val="7D80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37162" y="91440"/>
            <a:ext cx="8913706" cy="4404360"/>
          </a:xfrm>
        </p:spPr>
        <p:txBody>
          <a:bodyPr/>
          <a:lstStyle>
            <a:lvl1pPr>
              <a:defRPr sz="2398" b="0" i="0"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hange this type size to 192 </a:t>
            </a:r>
            <a:br>
              <a:rPr lang="en-US" dirty="0"/>
            </a:br>
            <a:r>
              <a:rPr lang="en-US" dirty="0"/>
              <a:t>before typing your headlin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4381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96596" y="1228731"/>
            <a:ext cx="6890004" cy="1977845"/>
          </a:xfrm>
        </p:spPr>
        <p:txBody>
          <a:bodyPr/>
          <a:lstStyle/>
          <a:p>
            <a:r>
              <a:rPr lang="en-US" dirty="0"/>
              <a:t>Change this type size to 96 </a:t>
            </a:r>
            <a:br>
              <a:rPr lang="en-US" dirty="0"/>
            </a:br>
            <a:r>
              <a:rPr lang="en-US" dirty="0"/>
              <a:t>before typing your headlin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9456" y="200983"/>
            <a:ext cx="1837944" cy="452209"/>
          </a:xfrm>
        </p:spPr>
        <p:txBody>
          <a:bodyPr/>
          <a:lstStyle/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96583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Text gradient">
    <p:bg>
      <p:bgPr>
        <a:gradFill>
          <a:gsLst>
            <a:gs pos="6000">
              <a:srgbClr val="0062FF"/>
            </a:gs>
            <a:gs pos="100000">
              <a:srgbClr val="7D80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96596" y="1228731"/>
            <a:ext cx="6890004" cy="1977845"/>
          </a:xfrm>
        </p:spPr>
        <p:txBody>
          <a:bodyPr/>
          <a:lstStyle/>
          <a:p>
            <a:r>
              <a:rPr lang="en-US" dirty="0"/>
              <a:t>Change this type size to 96 </a:t>
            </a:r>
            <a:br>
              <a:rPr lang="en-US" dirty="0"/>
            </a:br>
            <a:r>
              <a:rPr lang="en-US" dirty="0"/>
              <a:t>before typing your headlin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9456" y="200983"/>
            <a:ext cx="1837944" cy="452209"/>
          </a:xfrm>
        </p:spPr>
        <p:txBody>
          <a:bodyPr/>
          <a:lstStyle/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07702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dium Text">
    <p:bg>
      <p:bgPr>
        <a:solidFill>
          <a:srgbClr val="3D3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96596" y="1228731"/>
            <a:ext cx="6890004" cy="1977845"/>
          </a:xfrm>
        </p:spPr>
        <p:txBody>
          <a:bodyPr/>
          <a:lstStyle/>
          <a:p>
            <a:r>
              <a:rPr lang="en-US" dirty="0"/>
              <a:t>Change this type size to 96 </a:t>
            </a:r>
            <a:br>
              <a:rPr lang="en-US" dirty="0"/>
            </a:br>
            <a:r>
              <a:rPr lang="en-US" dirty="0"/>
              <a:t>before typing your headlin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9456" y="200983"/>
            <a:ext cx="1837944" cy="452209"/>
          </a:xfrm>
        </p:spPr>
        <p:txBody>
          <a:bodyPr/>
          <a:lstStyle/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32516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fact, number, pic - Blue70_">
    <p:bg>
      <p:bgPr>
        <a:solidFill>
          <a:srgbClr val="C9DE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572000" y="-1587"/>
            <a:ext cx="4572000" cy="5143500"/>
          </a:xfrm>
          <a:prstGeom prst="rect">
            <a:avLst/>
          </a:prstGeom>
          <a:solidFill>
            <a:srgbClr val="054ADA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199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0" y="194438"/>
            <a:ext cx="4108450" cy="775597"/>
          </a:xfrm>
        </p:spPr>
        <p:txBody>
          <a:bodyPr wrap="square">
            <a:spAutoFit/>
          </a:bodyPr>
          <a:lstStyle>
            <a:lvl1pPr>
              <a:defRPr sz="2797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800600" y="2521682"/>
            <a:ext cx="4114800" cy="1329595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59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  <a:solidFill>
            <a:schemeClr val="tx1"/>
          </a:solidFill>
        </p:spPr>
        <p:txBody>
          <a:bodyPr/>
          <a:lstStyle>
            <a:lvl1pPr>
              <a:defRPr sz="1598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66495512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93812" y="4692553"/>
            <a:ext cx="521589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46785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760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1"/>
            <a:ext cx="6400800" cy="38242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41197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23575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10217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94395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4022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74883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55484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0789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43866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39106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175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465224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01635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64546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12032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27555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73766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7569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89884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81283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7207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1052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6453056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81144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13696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1142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03726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68166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33537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553322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671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0048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3196" y="2312885"/>
            <a:ext cx="1297608" cy="517732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3594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69" indent="-117469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047803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203782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044679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4" indent="-173034">
              <a:spcBef>
                <a:spcPts val="0"/>
              </a:spcBef>
              <a:tabLst/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20448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9"/>
            <a:ext cx="4114800" cy="3687607"/>
          </a:xfrm>
        </p:spPr>
        <p:txBody>
          <a:bodyPr/>
          <a:lstStyle>
            <a:lvl1pPr>
              <a:defRPr sz="2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9"/>
            <a:ext cx="4114800" cy="3566477"/>
          </a:xfrm>
        </p:spPr>
        <p:txBody>
          <a:bodyPr/>
          <a:lstStyle>
            <a:lvl1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453060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1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97190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ast Start 2020 Title Slide">
    <p:bg>
      <p:bgPr>
        <a:gradFill flip="none" rotWithShape="1">
          <a:gsLst>
            <a:gs pos="0">
              <a:srgbClr val="0645CE"/>
            </a:gs>
            <a:gs pos="49917">
              <a:srgbClr val="0631A6"/>
            </a:gs>
            <a:gs pos="100000">
              <a:srgbClr val="06218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4" name="IBM Cloud Fast Start 2020"/>
          <p:cNvSpPr txBox="1"/>
          <p:nvPr/>
        </p:nvSpPr>
        <p:spPr>
          <a:xfrm>
            <a:off x="254001" y="4607560"/>
            <a:ext cx="2530499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sz="1200" dirty="0"/>
              <a:t>IBM </a:t>
            </a:r>
            <a:r>
              <a:rPr sz="1200" dirty="0">
                <a:latin typeface="IBM Plex Sans SemiBold"/>
                <a:ea typeface="IBM Plex Sans SemiBold"/>
                <a:cs typeface="IBM Plex Sans SemiBold"/>
                <a:sym typeface="IBM Plex Sans SemiBold"/>
              </a:rPr>
              <a:t>Cloud</a:t>
            </a:r>
            <a:r>
              <a:rPr lang="en-US" sz="1200" dirty="0">
                <a:latin typeface="IBM Plex Sans SemiBold"/>
                <a:ea typeface="IBM Plex Sans SemiBold"/>
                <a:cs typeface="IBM Plex Sans SemiBold"/>
                <a:sym typeface="IBM Plex Sans SemiBold"/>
              </a:rPr>
              <a:t> and Cognitive Software</a:t>
            </a:r>
            <a:endParaRPr sz="1200" dirty="0"/>
          </a:p>
        </p:txBody>
      </p:sp>
      <p:pic>
        <p:nvPicPr>
          <p:cNvPr id="1316" name="fs-pictogram-productive-light.png" descr="fs-pictogram-productive-light.png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7171" y="1366341"/>
            <a:ext cx="2409661" cy="24108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317" name="IBM_Cloud_Icon_White.png" descr="IBM_Cloud_Icon_White.png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6414" y="110791"/>
            <a:ext cx="898399" cy="84225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873440"/>
      </p:ext>
    </p:extLst>
  </p:cSld>
  <p:clrMapOvr>
    <a:masterClrMapping/>
  </p:clrMapOvr>
  <p:transition spd="med"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009814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97842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3750" y="4713078"/>
            <a:ext cx="356858" cy="144672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58000" y="285750"/>
            <a:ext cx="0" cy="4572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7143750" y="285750"/>
            <a:ext cx="1714500" cy="1143000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en-US" sz="125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IBM </a:t>
            </a:r>
            <a:r>
              <a:rPr lang="en-US" sz="1250" b="1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1110609155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DIVIDER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A8E8F1-15E4-C745-A790-6E8964AC6DD5}"/>
              </a:ext>
            </a:extLst>
          </p:cNvPr>
          <p:cNvSpPr/>
          <p:nvPr userDrawn="1"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280575105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1827D7F-0DA9-1D46-B4EB-5611C8EC42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6205" y="2188845"/>
            <a:ext cx="1414463" cy="525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6242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6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7"/>
            <a:ext cx="6400800" cy="4597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37093950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721760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9719256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7365219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DFA0D2E-4C1A-C643-8118-096217B72501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5234898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5763623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8553816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3998984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CUSTOM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50438304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CUSTOM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6858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7BDB63-AF9C-8540-B586-E121197E03A0}"/>
              </a:ext>
            </a:extLst>
          </p:cNvPr>
          <p:cNvSpPr txBox="1">
            <a:spLocks/>
          </p:cNvSpPr>
          <p:nvPr userDrawn="1"/>
        </p:nvSpPr>
        <p:spPr>
          <a:xfrm>
            <a:off x="4572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63217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CUSTOM-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B648B2D-D88A-C842-9346-9D8EA411DA61}"/>
              </a:ext>
            </a:extLst>
          </p:cNvPr>
          <p:cNvSpPr txBox="1">
            <a:spLocks/>
          </p:cNvSpPr>
          <p:nvPr userDrawn="1"/>
        </p:nvSpPr>
        <p:spPr>
          <a:xfrm>
            <a:off x="6858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E51B659A-2431-D549-B2D7-D2635A3EB314}"/>
              </a:ext>
            </a:extLst>
          </p:cNvPr>
          <p:cNvSpPr txBox="1">
            <a:spLocks/>
          </p:cNvSpPr>
          <p:nvPr userDrawn="1"/>
        </p:nvSpPr>
        <p:spPr>
          <a:xfrm>
            <a:off x="4572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D8915D3-4F31-3B45-B0D6-E9E5E089F4B2}"/>
              </a:ext>
            </a:extLst>
          </p:cNvPr>
          <p:cNvSpPr txBox="1">
            <a:spLocks/>
          </p:cNvSpPr>
          <p:nvPr userDrawn="1"/>
        </p:nvSpPr>
        <p:spPr>
          <a:xfrm>
            <a:off x="6858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5EDC703-5090-8940-9C72-FDAC391D4EDB}"/>
              </a:ext>
            </a:extLst>
          </p:cNvPr>
          <p:cNvSpPr txBox="1">
            <a:spLocks/>
          </p:cNvSpPr>
          <p:nvPr userDrawn="1"/>
        </p:nvSpPr>
        <p:spPr>
          <a:xfrm>
            <a:off x="4572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747670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718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CUSTOM-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B648B2D-D88A-C842-9346-9D8EA411DA61}"/>
              </a:ext>
            </a:extLst>
          </p:cNvPr>
          <p:cNvSpPr txBox="1">
            <a:spLocks/>
          </p:cNvSpPr>
          <p:nvPr userDrawn="1"/>
        </p:nvSpPr>
        <p:spPr>
          <a:xfrm>
            <a:off x="4572000" y="2571750"/>
            <a:ext cx="4572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D8915D3-4F31-3B45-B0D6-E9E5E089F4B2}"/>
              </a:ext>
            </a:extLst>
          </p:cNvPr>
          <p:cNvSpPr txBox="1">
            <a:spLocks/>
          </p:cNvSpPr>
          <p:nvPr userDrawn="1"/>
        </p:nvSpPr>
        <p:spPr>
          <a:xfrm>
            <a:off x="4572000" y="0"/>
            <a:ext cx="4572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5456752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195FFE-6DAD-A645-8722-E7C93E01B67F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288942850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195FFE-6DAD-A645-8722-E7C93E01B67F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87429743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195FFE-6DAD-A645-8722-E7C93E01B67F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137623116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1843315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8140864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0640760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51AF25E-6855-254D-9B45-02CDC643F12B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7003411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8967288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526196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07176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87099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5715000" y="0"/>
            <a:ext cx="3429000" cy="51435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37007401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5715000" y="0"/>
            <a:ext cx="3429000" cy="5143500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1275508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2286000" y="0"/>
            <a:ext cx="3429000" cy="5143500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3573808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6858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CA3BB9-16F3-7144-B3E1-3CB9395360D4}"/>
              </a:ext>
            </a:extLst>
          </p:cNvPr>
          <p:cNvSpPr txBox="1">
            <a:spLocks/>
          </p:cNvSpPr>
          <p:nvPr userDrawn="1"/>
        </p:nvSpPr>
        <p:spPr>
          <a:xfrm>
            <a:off x="2286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7BDB63-AF9C-8540-B586-E121197E03A0}"/>
              </a:ext>
            </a:extLst>
          </p:cNvPr>
          <p:cNvSpPr txBox="1">
            <a:spLocks/>
          </p:cNvSpPr>
          <p:nvPr userDrawn="1"/>
        </p:nvSpPr>
        <p:spPr>
          <a:xfrm>
            <a:off x="4572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16003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CA3BB9-16F3-7144-B3E1-3CB9395360D4}"/>
              </a:ext>
            </a:extLst>
          </p:cNvPr>
          <p:cNvSpPr txBox="1">
            <a:spLocks/>
          </p:cNvSpPr>
          <p:nvPr userDrawn="1"/>
        </p:nvSpPr>
        <p:spPr>
          <a:xfrm>
            <a:off x="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4572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CD69E0-6061-B342-B7FA-E35231401ABA}"/>
              </a:ext>
            </a:extLst>
          </p:cNvPr>
          <p:cNvSpPr/>
          <p:nvPr userDrawn="1"/>
        </p:nvSpPr>
        <p:spPr>
          <a:xfrm>
            <a:off x="0" y="0"/>
            <a:ext cx="4572000" cy="2571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7BDB63-AF9C-8540-B586-E121197E03A0}"/>
              </a:ext>
            </a:extLst>
          </p:cNvPr>
          <p:cNvSpPr txBox="1">
            <a:spLocks/>
          </p:cNvSpPr>
          <p:nvPr userDrawn="1"/>
        </p:nvSpPr>
        <p:spPr>
          <a:xfrm>
            <a:off x="6858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785260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CA3BB9-16F3-7144-B3E1-3CB9395360D4}"/>
              </a:ext>
            </a:extLst>
          </p:cNvPr>
          <p:cNvSpPr txBox="1">
            <a:spLocks/>
          </p:cNvSpPr>
          <p:nvPr userDrawn="1"/>
        </p:nvSpPr>
        <p:spPr>
          <a:xfrm>
            <a:off x="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457200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4790E9B-43AF-8249-9AA4-A5D82A96D0B0}"/>
              </a:ext>
            </a:extLst>
          </p:cNvPr>
          <p:cNvSpPr txBox="1">
            <a:spLocks/>
          </p:cNvSpPr>
          <p:nvPr userDrawn="1"/>
        </p:nvSpPr>
        <p:spPr>
          <a:xfrm>
            <a:off x="228600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541988-15E4-BD4A-A11D-88EC186642C8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6139E80-9E3B-8B49-A0A6-9F0E1642621B}"/>
              </a:ext>
            </a:extLst>
          </p:cNvPr>
          <p:cNvSpPr txBox="1">
            <a:spLocks/>
          </p:cNvSpPr>
          <p:nvPr userDrawn="1"/>
        </p:nvSpPr>
        <p:spPr>
          <a:xfrm>
            <a:off x="685800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91920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D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CA3BB9-16F3-7144-B3E1-3CB9395360D4}"/>
              </a:ext>
            </a:extLst>
          </p:cNvPr>
          <p:cNvSpPr txBox="1">
            <a:spLocks/>
          </p:cNvSpPr>
          <p:nvPr userDrawn="1"/>
        </p:nvSpPr>
        <p:spPr>
          <a:xfrm>
            <a:off x="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525E45F-26F1-3349-BC39-739B4716BF70}"/>
              </a:ext>
            </a:extLst>
          </p:cNvPr>
          <p:cNvSpPr txBox="1">
            <a:spLocks/>
          </p:cNvSpPr>
          <p:nvPr userDrawn="1"/>
        </p:nvSpPr>
        <p:spPr>
          <a:xfrm>
            <a:off x="457200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E81DE10-1415-6246-B0B8-6FD917DBCBE7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4790E9B-43AF-8249-9AA4-A5D82A96D0B0}"/>
              </a:ext>
            </a:extLst>
          </p:cNvPr>
          <p:cNvSpPr txBox="1">
            <a:spLocks/>
          </p:cNvSpPr>
          <p:nvPr userDrawn="1"/>
        </p:nvSpPr>
        <p:spPr>
          <a:xfrm>
            <a:off x="228600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541988-15E4-BD4A-A11D-88EC186642C8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6139E80-9E3B-8B49-A0A6-9F0E1642621B}"/>
              </a:ext>
            </a:extLst>
          </p:cNvPr>
          <p:cNvSpPr txBox="1">
            <a:spLocks/>
          </p:cNvSpPr>
          <p:nvPr userDrawn="1"/>
        </p:nvSpPr>
        <p:spPr>
          <a:xfrm>
            <a:off x="6858000" y="1428750"/>
            <a:ext cx="2286000" cy="3714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88759C-4822-204E-A3AE-A22CD23960CA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B45F180-06BF-DF4D-9901-21BDEAE67D40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24663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16764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780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 sz="1100"/>
            </a:lvl1pPr>
            <a:lvl2pPr marL="173030" indent="-17303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0462696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9D1FB43-4B1A-7044-8923-6E15AB5F87AB}"/>
              </a:ext>
            </a:extLst>
          </p:cNvPr>
          <p:cNvSpPr txBox="1">
            <a:spLocks/>
          </p:cNvSpPr>
          <p:nvPr userDrawn="1"/>
        </p:nvSpPr>
        <p:spPr>
          <a:xfrm>
            <a:off x="0" y="2571750"/>
            <a:ext cx="9144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67898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4899587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1381595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2944647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9502183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437522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23628258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CUSTOM-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00EB2C-CDFE-EA40-A0D4-5889514B32E1}"/>
              </a:ext>
            </a:extLst>
          </p:cNvPr>
          <p:cNvSpPr txBox="1">
            <a:spLocks/>
          </p:cNvSpPr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3398156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CUSTOM-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00EB2C-CDFE-EA40-A0D4-5889514B32E1}"/>
              </a:ext>
            </a:extLst>
          </p:cNvPr>
          <p:cNvSpPr txBox="1">
            <a:spLocks/>
          </p:cNvSpPr>
          <p:nvPr userDrawn="1"/>
        </p:nvSpPr>
        <p:spPr>
          <a:xfrm>
            <a:off x="6858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5CC1259-291B-9445-BC74-039472F17EA4}"/>
              </a:ext>
            </a:extLst>
          </p:cNvPr>
          <p:cNvSpPr txBox="1">
            <a:spLocks/>
          </p:cNvSpPr>
          <p:nvPr userDrawn="1"/>
        </p:nvSpPr>
        <p:spPr>
          <a:xfrm>
            <a:off x="4572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BB7C525-CD59-9041-844E-DAC518083BC1}"/>
              </a:ext>
            </a:extLst>
          </p:cNvPr>
          <p:cNvSpPr txBox="1">
            <a:spLocks/>
          </p:cNvSpPr>
          <p:nvPr userDrawn="1"/>
        </p:nvSpPr>
        <p:spPr>
          <a:xfrm>
            <a:off x="6858000" y="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A9BB12-2089-EC4D-8D06-0CD664F9BC05}"/>
              </a:ext>
            </a:extLst>
          </p:cNvPr>
          <p:cNvSpPr txBox="1">
            <a:spLocks/>
          </p:cNvSpPr>
          <p:nvPr userDrawn="1"/>
        </p:nvSpPr>
        <p:spPr>
          <a:xfrm>
            <a:off x="4572000" y="2571750"/>
            <a:ext cx="2286000" cy="257175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1112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1657870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2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2477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312558289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BFBBCA5-34B8-5B41-917D-1AC0C08F1256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84895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BFBBCA5-34B8-5B41-917D-1AC0C08F1256}"/>
              </a:ext>
            </a:extLst>
          </p:cNvPr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93897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732EBE-3097-124F-9406-506D3F022304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84896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732EBE-3097-124F-9406-506D3F022304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95298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5EEA10-72EB-814B-A7C7-581C5689D4FC}"/>
              </a:ext>
            </a:extLst>
          </p:cNvPr>
          <p:cNvSpPr/>
          <p:nvPr userDrawn="1"/>
        </p:nvSpPr>
        <p:spPr>
          <a:xfrm>
            <a:off x="0" y="3714750"/>
            <a:ext cx="9144000" cy="142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311983032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AE2BC7B-1062-CB47-A195-045FEB13FC79}"/>
              </a:ext>
            </a:extLst>
          </p:cNvPr>
          <p:cNvSpPr/>
          <p:nvPr userDrawn="1"/>
        </p:nvSpPr>
        <p:spPr>
          <a:xfrm>
            <a:off x="6858000" y="0"/>
            <a:ext cx="2286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ED3325-B5D8-F649-8684-49FD29ED1EDB}"/>
              </a:ext>
            </a:extLst>
          </p:cNvPr>
          <p:cNvSpPr/>
          <p:nvPr userDrawn="1"/>
        </p:nvSpPr>
        <p:spPr>
          <a:xfrm>
            <a:off x="2286000" y="0"/>
            <a:ext cx="2286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162233-6D65-D649-8061-90915ED45412}"/>
              </a:ext>
            </a:extLst>
          </p:cNvPr>
          <p:cNvSpPr/>
          <p:nvPr userDrawn="1"/>
        </p:nvSpPr>
        <p:spPr>
          <a:xfrm>
            <a:off x="4572000" y="0"/>
            <a:ext cx="2297061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352892889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AE2BC7B-1062-CB47-A195-045FEB13FC79}"/>
              </a:ext>
            </a:extLst>
          </p:cNvPr>
          <p:cNvSpPr/>
          <p:nvPr userDrawn="1"/>
        </p:nvSpPr>
        <p:spPr>
          <a:xfrm>
            <a:off x="6858000" y="1428750"/>
            <a:ext cx="2286000" cy="3714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285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286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63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7143750" y="4857750"/>
            <a:ext cx="1714500" cy="28575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563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563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ED3325-B5D8-F649-8684-49FD29ED1EDB}"/>
              </a:ext>
            </a:extLst>
          </p:cNvPr>
          <p:cNvSpPr/>
          <p:nvPr userDrawn="1"/>
        </p:nvSpPr>
        <p:spPr>
          <a:xfrm>
            <a:off x="2286000" y="1428750"/>
            <a:ext cx="2286000" cy="3714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A16F11-1F01-9F44-9314-69A431E905B5}"/>
              </a:ext>
            </a:extLst>
          </p:cNvPr>
          <p:cNvSpPr/>
          <p:nvPr userDrawn="1"/>
        </p:nvSpPr>
        <p:spPr>
          <a:xfrm>
            <a:off x="2286000" y="0"/>
            <a:ext cx="6858000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162233-6D65-D649-8061-90915ED45412}"/>
              </a:ext>
            </a:extLst>
          </p:cNvPr>
          <p:cNvSpPr/>
          <p:nvPr userDrawn="1"/>
        </p:nvSpPr>
        <p:spPr>
          <a:xfrm>
            <a:off x="4572000" y="1428750"/>
            <a:ext cx="2297061" cy="3714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367433023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3A88CA1-D8EB-4E4B-9215-441FB9EEE91C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42875" tIns="228600" rIns="5715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375"/>
              </a:spcBef>
            </a:pPr>
            <a:endParaRPr lang="en-US" sz="1125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990D9E-0B0B-5841-8DB9-7DD8DC942C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3750" y="4713078"/>
            <a:ext cx="356858" cy="144672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470A967-2F3F-7F47-B001-62B8D8E6A4D3}"/>
              </a:ext>
            </a:extLst>
          </p:cNvPr>
          <p:cNvCxnSpPr/>
          <p:nvPr userDrawn="1"/>
        </p:nvCxnSpPr>
        <p:spPr>
          <a:xfrm>
            <a:off x="6858000" y="285750"/>
            <a:ext cx="0" cy="45720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A843FF1-D5B7-964A-89FA-EBDAC36F348F}"/>
              </a:ext>
            </a:extLst>
          </p:cNvPr>
          <p:cNvSpPr txBox="1"/>
          <p:nvPr userDrawn="1"/>
        </p:nvSpPr>
        <p:spPr>
          <a:xfrm>
            <a:off x="7143750" y="285750"/>
            <a:ext cx="1714500" cy="1143000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en-US" sz="125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IBM </a:t>
            </a:r>
            <a:r>
              <a:rPr lang="en-US" sz="1250" b="1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146991668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203781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4808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0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6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 Bkgd">
    <p:bg>
      <p:bgPr>
        <a:solidFill>
          <a:srgbClr val="0102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617189">
              <a:lnSpc>
                <a:spcPct val="90000"/>
              </a:lnSpc>
              <a:spcBef>
                <a:spcPts val="540"/>
              </a:spcBef>
              <a:buClr>
                <a:srgbClr val="1D3649"/>
              </a:buClr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83373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4" indent="-173034">
              <a:spcBef>
                <a:spcPts val="0"/>
              </a:spcBef>
              <a:tabLst/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0379876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9"/>
            <a:ext cx="4114800" cy="3687607"/>
          </a:xfrm>
        </p:spPr>
        <p:txBody>
          <a:bodyPr/>
          <a:lstStyle>
            <a:lvl1pPr>
              <a:defRPr sz="2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9"/>
            <a:ext cx="4114800" cy="3566477"/>
          </a:xfrm>
        </p:spPr>
        <p:txBody>
          <a:bodyPr/>
          <a:lstStyle>
            <a:lvl1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35353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1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185746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86800" cy="864308"/>
          </a:xfrm>
        </p:spPr>
        <p:txBody>
          <a:bodyPr/>
          <a:lstStyle>
            <a:lvl1pPr>
              <a:defRPr>
                <a:solidFill>
                  <a:srgbClr val="002060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1" y="1136650"/>
            <a:ext cx="8686800" cy="3562350"/>
          </a:xfrm>
        </p:spPr>
        <p:txBody>
          <a:bodyPr/>
          <a:lstStyle>
            <a:lvl1pPr marL="285743" marR="0" indent="-285743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284A5F"/>
              </a:buClr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4" indent="-173034">
              <a:buClr>
                <a:srgbClr val="284A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8701919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ast Start 2020 Title Slide">
    <p:bg>
      <p:bgPr>
        <a:gradFill flip="none" rotWithShape="1">
          <a:gsLst>
            <a:gs pos="0">
              <a:srgbClr val="0645CE"/>
            </a:gs>
            <a:gs pos="49917">
              <a:srgbClr val="0631A6"/>
            </a:gs>
            <a:gs pos="100000">
              <a:srgbClr val="06218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6" name="fs-pictogram-productive-light.png" descr="fs-pictogram-productive-ligh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7171" y="1366341"/>
            <a:ext cx="2409661" cy="24108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317" name="IBM_Cloud_Icon_White.png" descr="IBM_Cloud_Icon_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6414" y="110791"/>
            <a:ext cx="898399" cy="84225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86501366"/>
      </p:ext>
    </p:extLst>
  </p:cSld>
  <p:clrMapOvr>
    <a:masterClrMapping/>
  </p:clrMapOvr>
  <p:transition spd="med"/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885" y="913562"/>
            <a:ext cx="4019215" cy="717054"/>
          </a:xfrm>
          <a:noFill/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lang="en-US" sz="1800" b="0" i="1" dirty="0">
                <a:solidFill>
                  <a:schemeClr val="bg1"/>
                </a:solidFill>
                <a:latin typeface="IBM Plex Sans" panose="020B0503050203000203" pitchFamily="34" charset="0"/>
                <a:cs typeface="IBM Plex Sans" panose="020B0503050203000203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6885" y="1967462"/>
            <a:ext cx="4019215" cy="26743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author information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Box 1">
            <a:extLst>
              <a:ext uri="{FF2B5EF4-FFF2-40B4-BE49-F238E27FC236}">
                <a16:creationId xmlns:a16="http://schemas.microsoft.com/office/drawing/2014/main" id="{A401CD1F-9967-CD4E-BA7C-77ACB7A850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6884" y="431799"/>
            <a:ext cx="4090175" cy="501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t"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>
              <a:lnSpc>
                <a:spcPct val="90000"/>
              </a:lnSpc>
              <a:buClrTx/>
              <a:buFontTx/>
              <a:buNone/>
              <a:defRPr/>
            </a:pPr>
            <a:r>
              <a:rPr lang="en-US" sz="3200" b="1" dirty="0">
                <a:latin typeface="IBM Plex Sans" charset="0"/>
                <a:ea typeface="IBM Plex Sans" charset="0"/>
                <a:cs typeface="IBM Plex Sans" charset="0"/>
              </a:rPr>
              <a:t>IBM Edge Computing</a:t>
            </a:r>
            <a:endParaRPr lang="en-US" sz="3200" b="1" dirty="0">
              <a:solidFill>
                <a:schemeClr val="accent5">
                  <a:lumMod val="20000"/>
                  <a:lumOff val="8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202DF643-D1C4-7345-AD04-F411567F1F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399" r="11560"/>
          <a:stretch/>
        </p:blipFill>
        <p:spPr>
          <a:xfrm>
            <a:off x="4663033" y="0"/>
            <a:ext cx="526211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00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  <a:lvl2pPr>
              <a:spcBef>
                <a:spcPts val="300"/>
              </a:spcBef>
              <a:spcAft>
                <a:spcPts val="15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704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1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75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3004030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870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Bar_Gray7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rgbClr val="56565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96047"/>
            <a:ext cx="1828800" cy="449110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800">
                <a:solidFill>
                  <a:schemeClr val="bg2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4076764546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37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 -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87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409" y="857250"/>
            <a:ext cx="4130906" cy="38290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507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28851"/>
            <a:ext cx="8229600" cy="628649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91440" bIns="91440" anchor="ctr"/>
          <a:lstStyle>
            <a:lvl1pPr algn="l">
              <a:defRPr sz="3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483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260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1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574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6923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228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6176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/November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1" y="203782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241301"/>
            <a:ext cx="521589" cy="211455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7298" y="1621626"/>
            <a:ext cx="2149404" cy="190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C1E7D1-F892-4F54-ACCB-873945D3A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1665" y="4440473"/>
            <a:ext cx="1819940" cy="45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59620"/>
      </p:ext>
    </p:extLst>
  </p:cSld>
  <p:clrMapOvr>
    <a:masterClrMapping/>
  </p:clrMapOvr>
  <p:hf hdr="0" dt="0"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1" y="685800"/>
            <a:ext cx="3008318" cy="457200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3" y="685801"/>
            <a:ext cx="5111878" cy="3908822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41" y="1257301"/>
            <a:ext cx="3008318" cy="3337322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573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49" y="3600450"/>
            <a:ext cx="5485685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849" y="742951"/>
            <a:ext cx="5485685" cy="2802731"/>
          </a:xfrm>
        </p:spPr>
        <p:txBody>
          <a:bodyPr/>
          <a:lstStyle>
            <a:lvl1pPr marL="0" indent="0">
              <a:buNone/>
              <a:defRPr sz="2400"/>
            </a:lvl1pPr>
            <a:lvl2pPr marL="342866" indent="0">
              <a:buNone/>
              <a:defRPr sz="2100"/>
            </a:lvl2pPr>
            <a:lvl3pPr marL="685732" indent="0">
              <a:buNone/>
              <a:defRPr sz="1800"/>
            </a:lvl3pPr>
            <a:lvl4pPr marL="1028597" indent="0">
              <a:buNone/>
              <a:defRPr sz="1500"/>
            </a:lvl4pPr>
            <a:lvl5pPr marL="1371463" indent="0">
              <a:buNone/>
              <a:defRPr sz="1500"/>
            </a:lvl5pPr>
            <a:lvl6pPr marL="1714328" indent="0">
              <a:buNone/>
              <a:defRPr sz="1500"/>
            </a:lvl6pPr>
            <a:lvl7pPr marL="2057195" indent="0">
              <a:buNone/>
              <a:defRPr sz="1500"/>
            </a:lvl7pPr>
            <a:lvl8pPr marL="2400060" indent="0">
              <a:buNone/>
              <a:defRPr sz="1500"/>
            </a:lvl8pPr>
            <a:lvl9pPr marL="2742926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849" y="4025503"/>
            <a:ext cx="5485685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35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761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728" y="742951"/>
            <a:ext cx="2057132" cy="385167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41" y="742951"/>
            <a:ext cx="6058302" cy="385167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36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2950"/>
            <a:ext cx="3895344" cy="4000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9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157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>
              <a:solidFill>
                <a:srgbClr val="1E88D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9144000" cy="5573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>
              <a:solidFill>
                <a:srgbClr val="1E88DA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39722" y="4920274"/>
            <a:ext cx="1192212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33"/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© 2017</a:t>
            </a:r>
            <a:r>
              <a:rPr lang="en-US" sz="600" baseline="0" dirty="0">
                <a:solidFill>
                  <a:srgbClr val="2D2D2D"/>
                </a:solidFill>
                <a:cs typeface="Arial" panose="020B0604020202020204" pitchFamily="34" charset="0"/>
              </a:rPr>
              <a:t> </a:t>
            </a:r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 IBM Corpor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914" y="59862"/>
            <a:ext cx="8463136" cy="471360"/>
          </a:xfrm>
        </p:spPr>
        <p:txBody>
          <a:bodyPr wrap="square" anchor="ctr" anchorCtr="0">
            <a:noAutofit/>
          </a:bodyPr>
          <a:lstStyle>
            <a:lvl1pPr>
              <a:lnSpc>
                <a:spcPts val="3000"/>
              </a:lnSpc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14707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83247-ADFA-479A-9785-1BA293DBD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06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F6648E-2BF3-41DC-A8C8-52F4F353E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F6648E-2BF3-41DC-A8C8-52F4F353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6560288" y="4226442"/>
            <a:ext cx="914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B6F30-F0A4-4325-BBB8-ABA1B6CC3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14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28241" y="1057275"/>
            <a:ext cx="4687521" cy="302895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888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177896"/>
      </p:ext>
    </p:extLst>
  </p:cSld>
  <p:clrMapOvr>
    <a:masterClrMapping/>
  </p:clrMapOvr>
  <p:hf hdr="0" dt="0"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157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885" y="913562"/>
            <a:ext cx="4019215" cy="717054"/>
          </a:xfrm>
          <a:noFill/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lang="en-US" sz="1800" b="0" i="1" dirty="0">
                <a:solidFill>
                  <a:schemeClr val="bg1"/>
                </a:solidFill>
                <a:latin typeface="Avenir Book" panose="02000503020000020003" pitchFamily="2" charset="0"/>
                <a:cs typeface="Avenir Book" panose="02000503020000020003" pitchFamily="2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6885" y="1967462"/>
            <a:ext cx="4019215" cy="26743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author information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Box 1">
            <a:extLst>
              <a:ext uri="{FF2B5EF4-FFF2-40B4-BE49-F238E27FC236}">
                <a16:creationId xmlns:a16="http://schemas.microsoft.com/office/drawing/2014/main" id="{A401CD1F-9967-CD4E-BA7C-77ACB7A850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6884" y="431799"/>
            <a:ext cx="4090175" cy="501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t"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>
              <a:lnSpc>
                <a:spcPct val="90000"/>
              </a:lnSpc>
              <a:buClrTx/>
              <a:buFontTx/>
              <a:buNone/>
              <a:defRPr/>
            </a:pPr>
            <a:r>
              <a:rPr lang="en-US" sz="3200" b="1" dirty="0">
                <a:latin typeface="Avenir Book" panose="02000503020000020003" pitchFamily="2" charset="0"/>
                <a:ea typeface="IBM Plex Sans" charset="0"/>
                <a:cs typeface="IBM Plex Sans" charset="0"/>
              </a:rPr>
              <a:t>IBM Edge Computing</a:t>
            </a:r>
            <a:endParaRPr lang="en-US" sz="3200" b="1" dirty="0">
              <a:solidFill>
                <a:schemeClr val="accent5">
                  <a:lumMod val="20000"/>
                  <a:lumOff val="80000"/>
                </a:schemeClr>
              </a:solidFill>
              <a:latin typeface="Avenir Book" panose="02000503020000020003" pitchFamily="2" charset="0"/>
              <a:ea typeface="IBM Plex Sans" charset="0"/>
              <a:cs typeface="IBM Plex Sans" charset="0"/>
            </a:endParaRPr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202DF643-D1C4-7345-AD04-F411567F1F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2399" r="11560"/>
          <a:stretch/>
        </p:blipFill>
        <p:spPr>
          <a:xfrm>
            <a:off x="4663033" y="0"/>
            <a:ext cx="5262113" cy="5143500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531EA449-BA44-F142-8BD8-05470B78F0CC}"/>
              </a:ext>
            </a:extLst>
          </p:cNvPr>
          <p:cNvSpPr txBox="1">
            <a:spLocks/>
          </p:cNvSpPr>
          <p:nvPr userDrawn="1"/>
        </p:nvSpPr>
        <p:spPr>
          <a:xfrm>
            <a:off x="3505343" y="4914901"/>
            <a:ext cx="2133323" cy="126206"/>
          </a:xfrm>
          <a:prstGeom prst="rect">
            <a:avLst/>
          </a:prstGeom>
        </p:spPr>
        <p:txBody>
          <a:bodyPr vert="horz" lIns="68565" tIns="34286" rIns="68565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700" dirty="0">
                <a:solidFill>
                  <a:srgbClr val="FF0000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4513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414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  <a:lvl2pPr>
              <a:spcBef>
                <a:spcPts val="300"/>
              </a:spcBef>
              <a:spcAft>
                <a:spcPts val="15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077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1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052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3004030"/>
            <a:ext cx="8229124" cy="1692137"/>
          </a:xfrm>
        </p:spPr>
        <p:txBody>
          <a:bodyPr/>
          <a:lstStyle>
            <a:lvl1pPr>
              <a:spcBef>
                <a:spcPts val="225"/>
              </a:spcBef>
              <a:spcAft>
                <a:spcPts val="75"/>
              </a:spcAft>
              <a:defRPr/>
            </a:lvl1pPr>
            <a:lvl2pPr>
              <a:spcBef>
                <a:spcPts val="15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372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366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 -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41" y="800100"/>
            <a:ext cx="4130906" cy="3886200"/>
          </a:xfrm>
        </p:spPr>
        <p:txBody>
          <a:bodyPr/>
          <a:lstStyle>
            <a:lvl1pPr>
              <a:spcBef>
                <a:spcPts val="450"/>
              </a:spcBef>
              <a:spcAft>
                <a:spcPts val="225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30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409" y="857250"/>
            <a:ext cx="4130906" cy="38290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666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28851"/>
            <a:ext cx="8229600" cy="628649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91440" bIns="91440" anchor="ctr"/>
          <a:lstStyle>
            <a:lvl1pPr algn="l">
              <a:defRPr sz="3000" b="1" cap="all"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84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/>
            </a:lvl1pPr>
            <a:lvl2pPr marL="173030" indent="-17303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5446191"/>
      </p:ext>
    </p:extLst>
  </p:cSld>
  <p:clrMapOvr>
    <a:masterClrMapping/>
  </p:clrMapOvr>
  <p:hf hdr="0" dt="0"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049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1" y="800100"/>
            <a:ext cx="4057121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548" y="800100"/>
            <a:ext cx="4058312" cy="3794524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0"/>
              </a:spcBef>
              <a:spcAft>
                <a:spcPts val="0"/>
              </a:spcAft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spcBef>
                <a:spcPts val="0"/>
              </a:spcBef>
              <a:spcAft>
                <a:spcPts val="0"/>
              </a:spcAft>
              <a:defRPr sz="1050"/>
            </a:lvl4pPr>
            <a:lvl5pPr>
              <a:spcBef>
                <a:spcPts val="0"/>
              </a:spcBef>
              <a:spcAft>
                <a:spcPts val="0"/>
              </a:spcAft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099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8710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141" y="742950"/>
            <a:ext cx="4040455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1" y="1371601"/>
            <a:ext cx="4040455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215" y="742950"/>
            <a:ext cx="4041646" cy="514350"/>
          </a:xfrm>
        </p:spPr>
        <p:txBody>
          <a:bodyPr anchor="b">
            <a:noAutofit/>
          </a:bodyPr>
          <a:lstStyle>
            <a:lvl1pPr marL="0" indent="0">
              <a:buNone/>
              <a:defRPr sz="1500" b="0"/>
            </a:lvl1pPr>
            <a:lvl2pPr marL="342866" indent="0">
              <a:buNone/>
              <a:defRPr sz="1500" b="1"/>
            </a:lvl2pPr>
            <a:lvl3pPr marL="685732" indent="0">
              <a:buNone/>
              <a:defRPr sz="1350" b="1"/>
            </a:lvl3pPr>
            <a:lvl4pPr marL="1028597" indent="0">
              <a:buNone/>
              <a:defRPr sz="1200" b="1"/>
            </a:lvl4pPr>
            <a:lvl5pPr marL="1371463" indent="0">
              <a:buNone/>
              <a:defRPr sz="1200" b="1"/>
            </a:lvl5pPr>
            <a:lvl6pPr marL="1714328" indent="0">
              <a:buNone/>
              <a:defRPr sz="1200" b="1"/>
            </a:lvl6pPr>
            <a:lvl7pPr marL="2057195" indent="0">
              <a:buNone/>
              <a:defRPr sz="1200" b="1"/>
            </a:lvl7pPr>
            <a:lvl8pPr marL="2400060" indent="0">
              <a:buNone/>
              <a:defRPr sz="1200" b="1"/>
            </a:lvl8pPr>
            <a:lvl9pPr marL="2742926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371601"/>
            <a:ext cx="4041646" cy="3223022"/>
          </a:xfrm>
        </p:spPr>
        <p:txBody>
          <a:bodyPr anchor="t">
            <a:normAutofit/>
          </a:bodyPr>
          <a:lstStyle>
            <a:lvl1pPr>
              <a:spcBef>
                <a:spcPts val="300"/>
              </a:spcBef>
              <a:spcAft>
                <a:spcPts val="150"/>
              </a:spcAft>
              <a:defRPr sz="1500"/>
            </a:lvl1pPr>
            <a:lvl2pPr>
              <a:spcBef>
                <a:spcPts val="150"/>
              </a:spcBef>
              <a:defRPr sz="1350"/>
            </a:lvl2pPr>
            <a:lvl3pPr>
              <a:spcBef>
                <a:spcPts val="0"/>
              </a:spcBef>
              <a:spcAft>
                <a:spcPts val="0"/>
              </a:spcAft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202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04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10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1" y="685800"/>
            <a:ext cx="3008318" cy="457200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3" y="685801"/>
            <a:ext cx="5111878" cy="3908822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41" y="1257301"/>
            <a:ext cx="3008318" cy="3337322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93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49" y="3600450"/>
            <a:ext cx="5485685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849" y="742951"/>
            <a:ext cx="5485685" cy="2802731"/>
          </a:xfrm>
        </p:spPr>
        <p:txBody>
          <a:bodyPr/>
          <a:lstStyle>
            <a:lvl1pPr marL="0" indent="0">
              <a:buNone/>
              <a:defRPr sz="2400"/>
            </a:lvl1pPr>
            <a:lvl2pPr marL="342866" indent="0">
              <a:buNone/>
              <a:defRPr sz="2100"/>
            </a:lvl2pPr>
            <a:lvl3pPr marL="685732" indent="0">
              <a:buNone/>
              <a:defRPr sz="1800"/>
            </a:lvl3pPr>
            <a:lvl4pPr marL="1028597" indent="0">
              <a:buNone/>
              <a:defRPr sz="1500"/>
            </a:lvl4pPr>
            <a:lvl5pPr marL="1371463" indent="0">
              <a:buNone/>
              <a:defRPr sz="1500"/>
            </a:lvl5pPr>
            <a:lvl6pPr marL="1714328" indent="0">
              <a:buNone/>
              <a:defRPr sz="1500"/>
            </a:lvl6pPr>
            <a:lvl7pPr marL="2057195" indent="0">
              <a:buNone/>
              <a:defRPr sz="1500"/>
            </a:lvl7pPr>
            <a:lvl8pPr marL="2400060" indent="0">
              <a:buNone/>
              <a:defRPr sz="1500"/>
            </a:lvl8pPr>
            <a:lvl9pPr marL="2742926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849" y="4025503"/>
            <a:ext cx="5485685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2" indent="0">
              <a:buNone/>
              <a:defRPr sz="750"/>
            </a:lvl3pPr>
            <a:lvl4pPr marL="1028597" indent="0">
              <a:buNone/>
              <a:defRPr sz="675"/>
            </a:lvl4pPr>
            <a:lvl5pPr marL="1371463" indent="0">
              <a:buNone/>
              <a:defRPr sz="675"/>
            </a:lvl5pPr>
            <a:lvl6pPr marL="1714328" indent="0">
              <a:buNone/>
              <a:defRPr sz="675"/>
            </a:lvl6pPr>
            <a:lvl7pPr marL="2057195" indent="0">
              <a:buNone/>
              <a:defRPr sz="675"/>
            </a:lvl7pPr>
            <a:lvl8pPr marL="2400060" indent="0">
              <a:buNone/>
              <a:defRPr sz="675"/>
            </a:lvl8pPr>
            <a:lvl9pPr marL="2742926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992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830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728" y="742951"/>
            <a:ext cx="2057132" cy="385167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41" y="742951"/>
            <a:ext cx="6058302" cy="385167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675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4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7915671"/>
      </p:ext>
    </p:extLst>
  </p:cSld>
  <p:clrMapOvr>
    <a:masterClrMapping/>
  </p:clrMapOvr>
  <p:hf hdr="0" dt="0"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2950"/>
            <a:ext cx="3895344" cy="4000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255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361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>
              <a:solidFill>
                <a:srgbClr val="1E88D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9144000" cy="5573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33"/>
            <a:endParaRPr lang="en-US" sz="1800">
              <a:solidFill>
                <a:srgbClr val="1E88DA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39722" y="4920274"/>
            <a:ext cx="1192212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33"/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© 2017</a:t>
            </a:r>
            <a:r>
              <a:rPr lang="en-US" sz="600" baseline="0" dirty="0">
                <a:solidFill>
                  <a:srgbClr val="2D2D2D"/>
                </a:solidFill>
                <a:cs typeface="Arial" panose="020B0604020202020204" pitchFamily="34" charset="0"/>
              </a:rPr>
              <a:t> </a:t>
            </a:r>
            <a:r>
              <a:rPr lang="en-US" sz="600" dirty="0">
                <a:solidFill>
                  <a:srgbClr val="2D2D2D"/>
                </a:solidFill>
                <a:cs typeface="Arial" panose="020B0604020202020204" pitchFamily="34" charset="0"/>
              </a:rPr>
              <a:t> IBM Corpor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914" y="59862"/>
            <a:ext cx="8463136" cy="471360"/>
          </a:xfrm>
        </p:spPr>
        <p:txBody>
          <a:bodyPr wrap="square" anchor="ctr" anchorCtr="0">
            <a:noAutofit/>
          </a:bodyPr>
          <a:lstStyle>
            <a:lvl1pPr>
              <a:lnSpc>
                <a:spcPts val="3000"/>
              </a:lnSpc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4733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83247-ADFA-479A-9785-1BA293DBD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91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F6648E-2BF3-41DC-A8C8-52F4F353E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F6648E-2BF3-41DC-A8C8-52F4F353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6560288" y="4226442"/>
            <a:ext cx="914400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B6F30-F0A4-4325-BBB8-ABA1B6CC3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081" y="4844143"/>
            <a:ext cx="8315319" cy="299357"/>
          </a:xfrm>
        </p:spPr>
        <p:txBody>
          <a:bodyPr anchor="b"/>
          <a:lstStyle>
            <a:lvl1pPr>
              <a:spcBef>
                <a:spcPts val="0"/>
              </a:spcBef>
              <a:defRPr sz="825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68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203782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331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4" indent="-173034">
              <a:spcBef>
                <a:spcPts val="0"/>
              </a:spcBef>
              <a:tabLst/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076" algn="dec"/>
              </a:tabLst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spcBef>
                <a:spcPts val="0"/>
              </a:spcBef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260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758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19"/>
            <a:ext cx="4114800" cy="3687607"/>
          </a:xfrm>
        </p:spPr>
        <p:txBody>
          <a:bodyPr/>
          <a:lstStyle>
            <a:lvl1pPr>
              <a:defRPr sz="2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49"/>
            <a:ext cx="4114800" cy="3566477"/>
          </a:xfrm>
        </p:spPr>
        <p:txBody>
          <a:bodyPr/>
          <a:lstStyle>
            <a:lvl1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sz="14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34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1"/>
            <a:ext cx="1297608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9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8686800" cy="864308"/>
          </a:xfrm>
        </p:spPr>
        <p:txBody>
          <a:bodyPr/>
          <a:lstStyle>
            <a:lvl1pPr>
              <a:defRPr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1" y="1136650"/>
            <a:ext cx="8686800" cy="3562350"/>
          </a:xfrm>
        </p:spPr>
        <p:txBody>
          <a:bodyPr/>
          <a:lstStyle>
            <a:lvl1pPr marL="285743" marR="0" indent="-285743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rgbClr val="284A5F"/>
              </a:buClr>
              <a:buSzTx/>
              <a:buFont typeface="Arial" panose="020B0604020202020204" pitchFamily="34" charset="0"/>
              <a:buChar char="•"/>
              <a:tabLst/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173034" indent="-173034">
              <a:buClr>
                <a:srgbClr val="284A5F"/>
              </a:buClr>
              <a:buFont typeface="Arial" panose="020B0604020202020204" pitchFamily="34" charset="0"/>
              <a:buChar char="•"/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>
                <a:solidFill>
                  <a:srgbClr val="284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262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4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00204000"/>
      </p:ext>
    </p:extLst>
  </p:cSld>
  <p:clrMapOvr>
    <a:masterClrMapping/>
  </p:clrMapOvr>
  <p:hf hdr="0" dt="0"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282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201168"/>
            <a:ext cx="4114800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Accelerate digital transformation with Cloud &amp; AI / July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9352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96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1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8DC10E-25C7-8542-9F55-FE7F6A45DBF6}"/>
              </a:ext>
            </a:extLst>
          </p:cNvPr>
          <p:cNvSpPr txBox="1"/>
          <p:nvPr userDrawn="1"/>
        </p:nvSpPr>
        <p:spPr>
          <a:xfrm>
            <a:off x="4958544" y="4787902"/>
            <a:ext cx="17764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800" baseline="0" dirty="0">
                <a:solidFill>
                  <a:schemeClr val="bg1"/>
                </a:solidFill>
                <a:latin typeface="+mn-lt"/>
                <a:ea typeface="IBM Plex Sans" charset="0"/>
                <a:cs typeface="IBM Plex Sans" charset="0"/>
              </a:rPr>
              <a:t>IBM Confidential until May 5, 2020</a:t>
            </a:r>
          </a:p>
        </p:txBody>
      </p:sp>
    </p:spTree>
    <p:extLst>
      <p:ext uri="{BB962C8B-B14F-4D97-AF65-F5344CB8AC3E}">
        <p14:creationId xmlns:p14="http://schemas.microsoft.com/office/powerpoint/2010/main" val="164740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3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79915410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5187462" cy="4520805"/>
          </a:xfrm>
        </p:spPr>
        <p:txBody>
          <a:bodyPr/>
          <a:lstStyle>
            <a:lvl1pPr marL="117469" indent="-11746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64460723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5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308754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1" y="203782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241301"/>
            <a:ext cx="521589" cy="211455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7298" y="1621626"/>
            <a:ext cx="2149404" cy="190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C1E7D1-F892-4F54-ACCB-873945D3A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1665" y="4440473"/>
            <a:ext cx="1819940" cy="45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5969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4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4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5267039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2"/>
            <a:ext cx="4114800" cy="358965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5335760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20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50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1495874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1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5313342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2"/>
            <a:ext cx="4114800" cy="358584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0620375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1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81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3877299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1026239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4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152587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81099411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028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54500260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05240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381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271781332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182882"/>
            <a:ext cx="4114800" cy="30003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2"/>
            <a:ext cx="4114800" cy="3488731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648665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1" y="2571750"/>
            <a:ext cx="4572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257175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2"/>
            <a:ext cx="4572000" cy="2111375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4571999" cy="257175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9892107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8" y="2571750"/>
            <a:ext cx="2286000" cy="2571750"/>
          </a:xfrm>
          <a:solidFill>
            <a:schemeClr val="accent4">
              <a:lumMod val="60000"/>
              <a:lumOff val="4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2571750"/>
            <a:ext cx="2286000" cy="257175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2571750"/>
            <a:ext cx="2285997" cy="257175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2571750"/>
            <a:ext cx="2286000" cy="257175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257175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788172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-1"/>
            <a:ext cx="9143999" cy="1290639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4326955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2857500"/>
            <a:ext cx="2286000" cy="2286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0">
                <a:solidFill>
                  <a:schemeClr val="bg2"/>
                </a:solidFill>
              </a:defRPr>
            </a:lvl2pPr>
            <a:lvl3pPr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81249451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2286000" cy="51435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51435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51435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5143500"/>
          </a:xfrm>
          <a:solidFill>
            <a:schemeClr val="accent4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53019374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5240995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14600" y="666751"/>
            <a:ext cx="6400800" cy="38242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4181178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116490"/>
            <a:ext cx="1828800" cy="3454400"/>
          </a:xfrm>
        </p:spPr>
        <p:txBody>
          <a:bodyPr/>
          <a:lstStyle>
            <a:lvl1pPr>
              <a:defRPr sz="14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334306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/>
            </a:lvl1pPr>
            <a:lvl2pPr marL="173030" indent="-17303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4686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24712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12979637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950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8600" y="1097280"/>
            <a:ext cx="1828800" cy="3502152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14600" y="1116013"/>
            <a:ext cx="1828800" cy="3456432"/>
          </a:xfrm>
        </p:spPr>
        <p:txBody>
          <a:bodyPr/>
          <a:lstStyle>
            <a:lvl1pPr>
              <a:defRPr sz="1400"/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00392" y="1051560"/>
            <a:ext cx="4215008" cy="3456432"/>
          </a:xfrm>
        </p:spPr>
        <p:txBody>
          <a:bodyPr/>
          <a:lstStyle>
            <a:lvl1pPr marL="117469" indent="-117469">
              <a:tabLst/>
              <a:defRPr sz="24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5843450"/>
      </p:ext>
    </p:extLst>
  </p:cSld>
  <p:clrMapOvr>
    <a:masterClrMapping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92026"/>
            <a:ext cx="1828800" cy="440899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2514600" y="225427"/>
            <a:ext cx="6400800" cy="4597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69678238"/>
      </p:ext>
    </p:extLst>
  </p:cSld>
  <p:clrMapOvr>
    <a:masterClrMapping/>
  </p:clrMapOvr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06404912"/>
      </p:ext>
    </p:extLst>
  </p:cSld>
  <p:clrMapOvr>
    <a:masterClrMapping/>
  </p:clrMapOvr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0486297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4300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 sz="1100"/>
            </a:lvl1pPr>
            <a:lvl2pPr marL="173030" indent="-17303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192678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186152"/>
            <a:ext cx="1292094" cy="52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837357"/>
      </p:ext>
    </p:extLst>
  </p:cSld>
  <p:clrMapOvr>
    <a:masterClrMapping/>
  </p:clrMapOvr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3_Bar Gray9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rgbClr val="C9DE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IBM Plex Sans" panose="020B0503050000000000" pitchFamily="34" charset="0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96047"/>
            <a:ext cx="1828800" cy="449110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800" baseline="0">
                <a:solidFill>
                  <a:schemeClr val="tx1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292995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ack Bkgd">
    <p:bg>
      <p:bgPr>
        <a:solidFill>
          <a:srgbClr val="0102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617189">
              <a:lnSpc>
                <a:spcPct val="90000"/>
              </a:lnSpc>
              <a:spcBef>
                <a:spcPts val="540"/>
              </a:spcBef>
              <a:buClr>
                <a:srgbClr val="1D3649"/>
              </a:buClr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89254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Bar_Gray70_Left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2286000" cy="5143500"/>
          </a:xfrm>
          <a:prstGeom prst="rect">
            <a:avLst/>
          </a:prstGeom>
          <a:solidFill>
            <a:srgbClr val="56565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196047"/>
            <a:ext cx="1828800" cy="449110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800">
                <a:solidFill>
                  <a:schemeClr val="bg2"/>
                </a:solidFill>
              </a:defRPr>
            </a:lvl1pPr>
          </a:lstStyle>
          <a:p>
            <a:pPr marL="0" lvl="0" indent="0">
              <a:buFont typeface="Arial"/>
            </a:pPr>
            <a:r>
              <a:rPr lang="en-US" dirty="0"/>
              <a:t>28pt short title</a:t>
            </a:r>
          </a:p>
        </p:txBody>
      </p:sp>
    </p:spTree>
    <p:extLst>
      <p:ext uri="{BB962C8B-B14F-4D97-AF65-F5344CB8AC3E}">
        <p14:creationId xmlns:p14="http://schemas.microsoft.com/office/powerpoint/2010/main" val="29460290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4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88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6_fact, number, pic - Blue70_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0" y="194438"/>
            <a:ext cx="4108450" cy="775597"/>
          </a:xfrm>
        </p:spPr>
        <p:txBody>
          <a:bodyPr wrap="square">
            <a:sp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783">
              <a:defRPr/>
            </a:pPr>
            <a:fld id="{3FD999D4-B456-9943-89B7-30D56181CE18}" type="slidenum">
              <a:rPr lang="en-US" smtClean="0">
                <a:solidFill>
                  <a:srgbClr val="000000"/>
                </a:solidFill>
              </a:rPr>
              <a:pPr defTabSz="685783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783">
              <a:defRPr/>
            </a:pPr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800600" y="2521681"/>
            <a:ext cx="4114800" cy="1329595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  <a:solidFill>
            <a:schemeClr val="tx1"/>
          </a:solidFill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24111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, blan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Title Text"/>
          <p:cNvSpPr txBox="1">
            <a:spLocks noGrp="1"/>
          </p:cNvSpPr>
          <p:nvPr>
            <p:ph type="title"/>
          </p:nvPr>
        </p:nvSpPr>
        <p:spPr>
          <a:xfrm>
            <a:off x="228600" y="201170"/>
            <a:ext cx="4114800" cy="381001"/>
          </a:xfrm>
          <a:prstGeom prst="rect">
            <a:avLst/>
          </a:prstGeom>
        </p:spPr>
        <p:txBody>
          <a:bodyPr>
            <a:normAutofit/>
          </a:bodyPr>
          <a:lstStyle>
            <a:lvl1pPr defTabSz="457166">
              <a:defRPr>
                <a:latin typeface="IBM Eliot Sans Regular"/>
                <a:ea typeface="IBM Eliot Sans Regular"/>
                <a:cs typeface="IBM Eliot Sans Regular"/>
                <a:sym typeface="IBM Eliot Sans Regular"/>
              </a:defRPr>
            </a:lvl1pPr>
          </a:lstStyle>
          <a:p>
            <a:r>
              <a:t>Title Text</a:t>
            </a:r>
          </a:p>
        </p:txBody>
      </p:sp>
      <p:sp>
        <p:nvSpPr>
          <p:cNvPr id="57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20152" y="4847437"/>
            <a:ext cx="95251" cy="95251"/>
          </a:xfrm>
          <a:prstGeom prst="rect">
            <a:avLst/>
          </a:prstGeom>
        </p:spPr>
        <p:txBody>
          <a:bodyPr/>
          <a:lstStyle>
            <a:lvl1pPr defTabSz="685766">
              <a:defRPr>
                <a:latin typeface="IBM Eliot Sans Regular"/>
                <a:ea typeface="IBM Eliot Sans Regular"/>
                <a:cs typeface="IBM Eliot Sans Regular"/>
                <a:sym typeface="IBM Eliot Sans Regular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273284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53" y="1314455"/>
            <a:ext cx="4040455" cy="316708"/>
          </a:xfrm>
        </p:spPr>
        <p:txBody>
          <a:bodyPr anchor="b">
            <a:normAutofit/>
          </a:bodyPr>
          <a:lstStyle>
            <a:lvl1pPr marL="0" indent="0">
              <a:buNone/>
              <a:defRPr sz="1298" b="0"/>
            </a:lvl1pPr>
            <a:lvl2pPr marL="296510" indent="0">
              <a:buNone/>
              <a:defRPr sz="1298" b="1"/>
            </a:lvl2pPr>
            <a:lvl3pPr marL="593018" indent="0">
              <a:buNone/>
              <a:defRPr sz="1125" b="1"/>
            </a:lvl3pPr>
            <a:lvl4pPr marL="889526" indent="0">
              <a:buNone/>
              <a:defRPr sz="1039" b="1"/>
            </a:lvl4pPr>
            <a:lvl5pPr marL="1186035" indent="0">
              <a:buNone/>
              <a:defRPr sz="1039" b="1"/>
            </a:lvl5pPr>
            <a:lvl6pPr marL="1482542" indent="0">
              <a:buNone/>
              <a:defRPr sz="1039" b="1"/>
            </a:lvl6pPr>
            <a:lvl7pPr marL="1779054" indent="0">
              <a:buNone/>
              <a:defRPr sz="1039" b="1"/>
            </a:lvl7pPr>
            <a:lvl8pPr marL="2075559" indent="0">
              <a:buNone/>
              <a:defRPr sz="1039" b="1"/>
            </a:lvl8pPr>
            <a:lvl9pPr marL="2372072" indent="0">
              <a:buNone/>
              <a:defRPr sz="1039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53" y="1631157"/>
            <a:ext cx="4040455" cy="2963465"/>
          </a:xfrm>
        </p:spPr>
        <p:txBody>
          <a:bodyPr anchor="t">
            <a:normAutofit/>
          </a:bodyPr>
          <a:lstStyle>
            <a:lvl1pPr>
              <a:defRPr sz="1298"/>
            </a:lvl1pPr>
            <a:lvl2pPr>
              <a:defRPr sz="1125"/>
            </a:lvl2pPr>
            <a:lvl3pPr>
              <a:defRPr sz="1039"/>
            </a:lvl3pPr>
            <a:lvl4pPr>
              <a:defRPr sz="865"/>
            </a:lvl4pPr>
            <a:lvl5pPr>
              <a:defRPr sz="865"/>
            </a:lvl5pPr>
            <a:lvl6pPr>
              <a:defRPr sz="1039"/>
            </a:lvl6pPr>
            <a:lvl7pPr>
              <a:defRPr sz="1039"/>
            </a:lvl7pPr>
            <a:lvl8pPr>
              <a:defRPr sz="1039"/>
            </a:lvl8pPr>
            <a:lvl9pPr>
              <a:defRPr sz="103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15" y="1314455"/>
            <a:ext cx="4041646" cy="316708"/>
          </a:xfrm>
        </p:spPr>
        <p:txBody>
          <a:bodyPr anchor="b">
            <a:normAutofit/>
          </a:bodyPr>
          <a:lstStyle>
            <a:lvl1pPr marL="0" indent="0">
              <a:buNone/>
              <a:defRPr sz="1298" b="0"/>
            </a:lvl1pPr>
            <a:lvl2pPr marL="296510" indent="0">
              <a:buNone/>
              <a:defRPr sz="1298" b="1"/>
            </a:lvl2pPr>
            <a:lvl3pPr marL="593018" indent="0">
              <a:buNone/>
              <a:defRPr sz="1125" b="1"/>
            </a:lvl3pPr>
            <a:lvl4pPr marL="889526" indent="0">
              <a:buNone/>
              <a:defRPr sz="1039" b="1"/>
            </a:lvl4pPr>
            <a:lvl5pPr marL="1186035" indent="0">
              <a:buNone/>
              <a:defRPr sz="1039" b="1"/>
            </a:lvl5pPr>
            <a:lvl6pPr marL="1482542" indent="0">
              <a:buNone/>
              <a:defRPr sz="1039" b="1"/>
            </a:lvl6pPr>
            <a:lvl7pPr marL="1779054" indent="0">
              <a:buNone/>
              <a:defRPr sz="1039" b="1"/>
            </a:lvl7pPr>
            <a:lvl8pPr marL="2075559" indent="0">
              <a:buNone/>
              <a:defRPr sz="1039" b="1"/>
            </a:lvl8pPr>
            <a:lvl9pPr marL="2372072" indent="0">
              <a:buNone/>
              <a:defRPr sz="103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15" y="1631157"/>
            <a:ext cx="4041646" cy="2963465"/>
          </a:xfrm>
        </p:spPr>
        <p:txBody>
          <a:bodyPr anchor="t">
            <a:normAutofit/>
          </a:bodyPr>
          <a:lstStyle>
            <a:lvl1pPr>
              <a:defRPr sz="1298"/>
            </a:lvl1pPr>
            <a:lvl2pPr>
              <a:defRPr sz="1125"/>
            </a:lvl2pPr>
            <a:lvl3pPr>
              <a:defRPr sz="1039"/>
            </a:lvl3pPr>
            <a:lvl4pPr>
              <a:defRPr sz="865"/>
            </a:lvl4pPr>
            <a:lvl5pPr>
              <a:defRPr sz="865"/>
            </a:lvl5pPr>
            <a:lvl6pPr>
              <a:defRPr sz="1039"/>
            </a:lvl6pPr>
            <a:lvl7pPr>
              <a:defRPr sz="1039"/>
            </a:lvl7pPr>
            <a:lvl8pPr>
              <a:defRPr sz="1039"/>
            </a:lvl8pPr>
            <a:lvl9pPr>
              <a:defRPr sz="10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386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425" y="1314450"/>
            <a:ext cx="4130905" cy="33718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753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bg>
      <p:bgPr>
        <a:gradFill>
          <a:gsLst>
            <a:gs pos="0">
              <a:schemeClr val="accent2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/November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1" y="203782"/>
            <a:ext cx="4114801" cy="4479344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3" y="241301"/>
            <a:ext cx="521589" cy="211455"/>
          </a:xfrm>
          <a:prstGeom prst="rect">
            <a:avLst/>
          </a:prstGeom>
        </p:spPr>
      </p:pic>
      <p:pic>
        <p:nvPicPr>
          <p:cNvPr id="9" name="BCK_PEG_[01]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7298" y="1621626"/>
            <a:ext cx="2149404" cy="190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C1E7D1-F892-4F54-ACCB-873945D3AF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1665" y="4440473"/>
            <a:ext cx="1819940" cy="45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99141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375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8364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8557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/>
            </a:lvl1pPr>
            <a:lvl2pPr marL="173030" indent="-17303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800600" y="1123950"/>
            <a:ext cx="4114800" cy="3584448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39977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Edit Master text styles</a:t>
            </a:r>
          </a:p>
          <a:p>
            <a:pPr marL="0" marR="0" lvl="1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457178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160" algn="r"/>
              </a:tabLst>
              <a:defRPr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246367"/>
      </p:ext>
    </p:extLst>
  </p:cSld>
  <p:clrMapOvr>
    <a:masterClrMapping/>
  </p:clrMapOvr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4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768827"/>
      </p:ext>
    </p:extLst>
  </p:cSld>
  <p:clrMapOvr>
    <a:masterClrMapping/>
  </p:clrMapOvr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4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18965491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408" y="84703"/>
            <a:ext cx="8686800" cy="4473575"/>
          </a:xfrm>
        </p:spPr>
        <p:txBody>
          <a:bodyPr/>
          <a:lstStyle>
            <a:lvl1pPr>
              <a:lnSpc>
                <a:spcPct val="90000"/>
              </a:lnSpc>
              <a:defRPr sz="9600" b="1" i="0">
                <a:latin typeface="+mj-lt"/>
                <a:ea typeface="IBM Plex Mono" charset="0"/>
                <a:cs typeface="IBM Plex Mono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4605729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10314"/>
            <a:ext cx="4114800" cy="1003807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44376" y="1015683"/>
            <a:ext cx="4114800" cy="310896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bg2"/>
                </a:solidFill>
                <a:latin typeface="+mj-lt"/>
                <a:ea typeface="IBM Plex Mono" charset="0"/>
                <a:cs typeface="IBM Plex Mono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60154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5187462" cy="4520805"/>
          </a:xfrm>
        </p:spPr>
        <p:txBody>
          <a:bodyPr/>
          <a:lstStyle>
            <a:lvl1pPr marL="117469" indent="-11746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76359265"/>
      </p:ext>
    </p:extLst>
  </p:cSld>
  <p:clrMapOvr>
    <a:masterClrMapping/>
  </p:clrMapOvr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43280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493776"/>
            <a:ext cx="4114800" cy="419973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0565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9509819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9593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124714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124714"/>
            <a:ext cx="4114800" cy="3585845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0498169"/>
      </p:ext>
    </p:extLst>
  </p:cSld>
  <p:clrMapOvr>
    <a:masterClrMapping/>
  </p:clrMapOvr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0"/>
            <a:ext cx="4114800" cy="3589656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2"/>
            <a:ext cx="4114800" cy="358965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0478044"/>
      </p:ext>
    </p:extLst>
  </p:cSld>
  <p:clrMapOvr>
    <a:masterClrMapping/>
  </p:clrMapOvr>
  <p:hf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5021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995520"/>
            <a:ext cx="4114800" cy="368760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116650"/>
            <a:ext cx="4114800" cy="356647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3439567"/>
      </p:ext>
    </p:extLst>
  </p:cSld>
  <p:clrMapOvr>
    <a:masterClrMapping/>
  </p:clrMapOvr>
  <p:hf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6400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3471"/>
            <a:ext cx="1828800" cy="358965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3471"/>
            <a:ext cx="1828800" cy="358965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5578354"/>
      </p:ext>
    </p:extLst>
  </p:cSld>
  <p:clrMapOvr>
    <a:masterClrMapping/>
  </p:clrMapOvr>
  <p:hf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11480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2"/>
            <a:ext cx="4114800" cy="3585845"/>
          </a:xfrm>
        </p:spPr>
        <p:txBody>
          <a:bodyPr/>
          <a:lstStyle>
            <a:lvl1pPr>
              <a:defRPr sz="16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0812334"/>
      </p:ext>
    </p:extLst>
  </p:cSld>
  <p:clrMapOvr>
    <a:masterClrMapping/>
  </p:clrMapOvr>
  <p:hf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64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097281"/>
            <a:ext cx="1828800" cy="3585845"/>
          </a:xfrm>
        </p:spPr>
        <p:txBody>
          <a:bodyPr/>
          <a:lstStyle>
            <a:lvl1pPr>
              <a:spcBef>
                <a:spcPts val="1100"/>
              </a:spcBef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097281"/>
            <a:ext cx="1828800" cy="35858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0642050"/>
      </p:ext>
    </p:extLst>
  </p:cSld>
  <p:clrMapOvr>
    <a:masterClrMapping/>
  </p:clrMapOvr>
  <p:hf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097282"/>
            <a:ext cx="1828800" cy="3501445"/>
          </a:xfrm>
        </p:spPr>
        <p:txBody>
          <a:bodyPr/>
          <a:lstStyle>
            <a:lvl1pPr>
              <a:defRPr sz="1600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4027352"/>
      </p:ext>
    </p:extLst>
  </p:cSld>
  <p:clrMapOvr>
    <a:masterClrMapping/>
  </p:clrMapOvr>
  <p:hf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033272"/>
            <a:ext cx="4114800" cy="35661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124714"/>
            <a:ext cx="4114800" cy="35014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01170"/>
            <a:ext cx="4114800" cy="300037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37867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slideLayout" Target="../slideLayouts/slideLayout282.xml"/><Relationship Id="rId18" Type="http://schemas.openxmlformats.org/officeDocument/2006/relationships/slideLayout" Target="../slideLayouts/slideLayout287.xml"/><Relationship Id="rId26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72.xml"/><Relationship Id="rId21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17" Type="http://schemas.openxmlformats.org/officeDocument/2006/relationships/slideLayout" Target="../slideLayouts/slideLayout286.xml"/><Relationship Id="rId25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71.xml"/><Relationship Id="rId16" Type="http://schemas.openxmlformats.org/officeDocument/2006/relationships/slideLayout" Target="../slideLayouts/slideLayout285.xml"/><Relationship Id="rId20" Type="http://schemas.openxmlformats.org/officeDocument/2006/relationships/slideLayout" Target="../slideLayouts/slideLayout289.xml"/><Relationship Id="rId29" Type="http://schemas.openxmlformats.org/officeDocument/2006/relationships/theme" Target="../theme/theme10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24" Type="http://schemas.openxmlformats.org/officeDocument/2006/relationships/slideLayout" Target="../slideLayouts/slideLayout293.xml"/><Relationship Id="rId5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84.xml"/><Relationship Id="rId23" Type="http://schemas.openxmlformats.org/officeDocument/2006/relationships/slideLayout" Target="../slideLayouts/slideLayout292.xml"/><Relationship Id="rId28" Type="http://schemas.openxmlformats.org/officeDocument/2006/relationships/slideLayout" Target="../slideLayouts/slideLayout297.xml"/><Relationship Id="rId10" Type="http://schemas.openxmlformats.org/officeDocument/2006/relationships/slideLayout" Target="../slideLayouts/slideLayout279.xml"/><Relationship Id="rId19" Type="http://schemas.openxmlformats.org/officeDocument/2006/relationships/slideLayout" Target="../slideLayouts/slideLayout288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283.xml"/><Relationship Id="rId22" Type="http://schemas.openxmlformats.org/officeDocument/2006/relationships/slideLayout" Target="../slideLayouts/slideLayout291.xml"/><Relationship Id="rId27" Type="http://schemas.openxmlformats.org/officeDocument/2006/relationships/slideLayout" Target="../slideLayouts/slideLayout296.xml"/><Relationship Id="rId30" Type="http://schemas.openxmlformats.org/officeDocument/2006/relationships/image" Target="../media/image18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300.xml"/><Relationship Id="rId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0.xml"/><Relationship Id="rId18" Type="http://schemas.openxmlformats.org/officeDocument/2006/relationships/slideLayout" Target="../slideLayouts/slideLayout325.xml"/><Relationship Id="rId26" Type="http://schemas.openxmlformats.org/officeDocument/2006/relationships/slideLayout" Target="../slideLayouts/slideLayout333.xml"/><Relationship Id="rId3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328.xml"/><Relationship Id="rId7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19.xml"/><Relationship Id="rId17" Type="http://schemas.openxmlformats.org/officeDocument/2006/relationships/slideLayout" Target="../slideLayouts/slideLayout324.xml"/><Relationship Id="rId25" Type="http://schemas.openxmlformats.org/officeDocument/2006/relationships/slideLayout" Target="../slideLayouts/slideLayout332.xml"/><Relationship Id="rId33" Type="http://schemas.openxmlformats.org/officeDocument/2006/relationships/theme" Target="../theme/theme12.xml"/><Relationship Id="rId2" Type="http://schemas.openxmlformats.org/officeDocument/2006/relationships/slideLayout" Target="../slideLayouts/slideLayout309.xml"/><Relationship Id="rId16" Type="http://schemas.openxmlformats.org/officeDocument/2006/relationships/slideLayout" Target="../slideLayouts/slideLayout323.xml"/><Relationship Id="rId20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36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24" Type="http://schemas.openxmlformats.org/officeDocument/2006/relationships/slideLayout" Target="../slideLayouts/slideLayout331.xml"/><Relationship Id="rId32" Type="http://schemas.openxmlformats.org/officeDocument/2006/relationships/slideLayout" Target="../slideLayouts/slideLayout339.xml"/><Relationship Id="rId5" Type="http://schemas.openxmlformats.org/officeDocument/2006/relationships/slideLayout" Target="../slideLayouts/slideLayout312.xml"/><Relationship Id="rId15" Type="http://schemas.openxmlformats.org/officeDocument/2006/relationships/slideLayout" Target="../slideLayouts/slideLayout322.xml"/><Relationship Id="rId23" Type="http://schemas.openxmlformats.org/officeDocument/2006/relationships/slideLayout" Target="../slideLayouts/slideLayout330.xml"/><Relationship Id="rId28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17.xml"/><Relationship Id="rId19" Type="http://schemas.openxmlformats.org/officeDocument/2006/relationships/slideLayout" Target="../slideLayouts/slideLayout326.xml"/><Relationship Id="rId31" Type="http://schemas.openxmlformats.org/officeDocument/2006/relationships/slideLayout" Target="../slideLayouts/slideLayout338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Relationship Id="rId14" Type="http://schemas.openxmlformats.org/officeDocument/2006/relationships/slideLayout" Target="../slideLayouts/slideLayout321.xml"/><Relationship Id="rId22" Type="http://schemas.openxmlformats.org/officeDocument/2006/relationships/slideLayout" Target="../slideLayouts/slideLayout329.xml"/><Relationship Id="rId27" Type="http://schemas.openxmlformats.org/officeDocument/2006/relationships/slideLayout" Target="../slideLayouts/slideLayout334.xml"/><Relationship Id="rId30" Type="http://schemas.openxmlformats.org/officeDocument/2006/relationships/slideLayout" Target="../slideLayouts/slideLayout337.xml"/><Relationship Id="rId8" Type="http://schemas.openxmlformats.org/officeDocument/2006/relationships/slideLayout" Target="../slideLayouts/slideLayout31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2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344.xml"/><Relationship Id="rId4" Type="http://schemas.openxmlformats.org/officeDocument/2006/relationships/slideLayout" Target="../slideLayouts/slideLayout343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7.xml"/><Relationship Id="rId18" Type="http://schemas.openxmlformats.org/officeDocument/2006/relationships/slideLayout" Target="../slideLayouts/slideLayout362.xml"/><Relationship Id="rId26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47.xml"/><Relationship Id="rId21" Type="http://schemas.openxmlformats.org/officeDocument/2006/relationships/slideLayout" Target="../slideLayouts/slideLayout365.xml"/><Relationship Id="rId34" Type="http://schemas.openxmlformats.org/officeDocument/2006/relationships/theme" Target="../theme/theme14.xml"/><Relationship Id="rId7" Type="http://schemas.openxmlformats.org/officeDocument/2006/relationships/slideLayout" Target="../slideLayouts/slideLayout351.xml"/><Relationship Id="rId12" Type="http://schemas.openxmlformats.org/officeDocument/2006/relationships/slideLayout" Target="../slideLayouts/slideLayout356.xml"/><Relationship Id="rId17" Type="http://schemas.openxmlformats.org/officeDocument/2006/relationships/slideLayout" Target="../slideLayouts/slideLayout361.xml"/><Relationship Id="rId25" Type="http://schemas.openxmlformats.org/officeDocument/2006/relationships/slideLayout" Target="../slideLayouts/slideLayout369.xml"/><Relationship Id="rId33" Type="http://schemas.openxmlformats.org/officeDocument/2006/relationships/slideLayout" Target="../slideLayouts/slideLayout377.xml"/><Relationship Id="rId2" Type="http://schemas.openxmlformats.org/officeDocument/2006/relationships/slideLayout" Target="../slideLayouts/slideLayout346.xml"/><Relationship Id="rId16" Type="http://schemas.openxmlformats.org/officeDocument/2006/relationships/slideLayout" Target="../slideLayouts/slideLayout360.xml"/><Relationship Id="rId20" Type="http://schemas.openxmlformats.org/officeDocument/2006/relationships/slideLayout" Target="../slideLayouts/slideLayout364.xml"/><Relationship Id="rId29" Type="http://schemas.openxmlformats.org/officeDocument/2006/relationships/slideLayout" Target="../slideLayouts/slideLayout373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24" Type="http://schemas.openxmlformats.org/officeDocument/2006/relationships/slideLayout" Target="../slideLayouts/slideLayout368.xml"/><Relationship Id="rId32" Type="http://schemas.openxmlformats.org/officeDocument/2006/relationships/slideLayout" Target="../slideLayouts/slideLayout376.xml"/><Relationship Id="rId5" Type="http://schemas.openxmlformats.org/officeDocument/2006/relationships/slideLayout" Target="../slideLayouts/slideLayout349.xml"/><Relationship Id="rId15" Type="http://schemas.openxmlformats.org/officeDocument/2006/relationships/slideLayout" Target="../slideLayouts/slideLayout359.xml"/><Relationship Id="rId23" Type="http://schemas.openxmlformats.org/officeDocument/2006/relationships/slideLayout" Target="../slideLayouts/slideLayout367.xml"/><Relationship Id="rId28" Type="http://schemas.openxmlformats.org/officeDocument/2006/relationships/slideLayout" Target="../slideLayouts/slideLayout372.xml"/><Relationship Id="rId10" Type="http://schemas.openxmlformats.org/officeDocument/2006/relationships/slideLayout" Target="../slideLayouts/slideLayout354.xml"/><Relationship Id="rId19" Type="http://schemas.openxmlformats.org/officeDocument/2006/relationships/slideLayout" Target="../slideLayouts/slideLayout363.xml"/><Relationship Id="rId31" Type="http://schemas.openxmlformats.org/officeDocument/2006/relationships/slideLayout" Target="../slideLayouts/slideLayout375.xml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Relationship Id="rId14" Type="http://schemas.openxmlformats.org/officeDocument/2006/relationships/slideLayout" Target="../slideLayouts/slideLayout358.xml"/><Relationship Id="rId22" Type="http://schemas.openxmlformats.org/officeDocument/2006/relationships/slideLayout" Target="../slideLayouts/slideLayout366.xml"/><Relationship Id="rId27" Type="http://schemas.openxmlformats.org/officeDocument/2006/relationships/slideLayout" Target="../slideLayouts/slideLayout371.xml"/><Relationship Id="rId30" Type="http://schemas.openxmlformats.org/officeDocument/2006/relationships/slideLayout" Target="../slideLayouts/slideLayout374.xml"/><Relationship Id="rId8" Type="http://schemas.openxmlformats.org/officeDocument/2006/relationships/slideLayout" Target="../slideLayouts/slideLayout35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5.xml"/><Relationship Id="rId13" Type="http://schemas.openxmlformats.org/officeDocument/2006/relationships/slideLayout" Target="../slideLayouts/slideLayout390.xml"/><Relationship Id="rId18" Type="http://schemas.openxmlformats.org/officeDocument/2006/relationships/slideLayout" Target="../slideLayouts/slideLayout395.xml"/><Relationship Id="rId3" Type="http://schemas.openxmlformats.org/officeDocument/2006/relationships/slideLayout" Target="../slideLayouts/slideLayout380.xml"/><Relationship Id="rId21" Type="http://schemas.openxmlformats.org/officeDocument/2006/relationships/slideLayout" Target="../slideLayouts/slideLayout398.xml"/><Relationship Id="rId7" Type="http://schemas.openxmlformats.org/officeDocument/2006/relationships/slideLayout" Target="../slideLayouts/slideLayout384.xml"/><Relationship Id="rId12" Type="http://schemas.openxmlformats.org/officeDocument/2006/relationships/slideLayout" Target="../slideLayouts/slideLayout389.xml"/><Relationship Id="rId17" Type="http://schemas.openxmlformats.org/officeDocument/2006/relationships/slideLayout" Target="../slideLayouts/slideLayout394.xml"/><Relationship Id="rId2" Type="http://schemas.openxmlformats.org/officeDocument/2006/relationships/slideLayout" Target="../slideLayouts/slideLayout379.xml"/><Relationship Id="rId16" Type="http://schemas.openxmlformats.org/officeDocument/2006/relationships/slideLayout" Target="../slideLayouts/slideLayout393.xml"/><Relationship Id="rId20" Type="http://schemas.openxmlformats.org/officeDocument/2006/relationships/slideLayout" Target="../slideLayouts/slideLayout397.xml"/><Relationship Id="rId1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383.xml"/><Relationship Id="rId11" Type="http://schemas.openxmlformats.org/officeDocument/2006/relationships/slideLayout" Target="../slideLayouts/slideLayout388.xml"/><Relationship Id="rId5" Type="http://schemas.openxmlformats.org/officeDocument/2006/relationships/slideLayout" Target="../slideLayouts/slideLayout382.xml"/><Relationship Id="rId15" Type="http://schemas.openxmlformats.org/officeDocument/2006/relationships/slideLayout" Target="../slideLayouts/slideLayout392.xml"/><Relationship Id="rId10" Type="http://schemas.openxmlformats.org/officeDocument/2006/relationships/slideLayout" Target="../slideLayouts/slideLayout387.xml"/><Relationship Id="rId19" Type="http://schemas.openxmlformats.org/officeDocument/2006/relationships/slideLayout" Target="../slideLayouts/slideLayout396.xml"/><Relationship Id="rId4" Type="http://schemas.openxmlformats.org/officeDocument/2006/relationships/slideLayout" Target="../slideLayouts/slideLayout381.xml"/><Relationship Id="rId9" Type="http://schemas.openxmlformats.org/officeDocument/2006/relationships/slideLayout" Target="../slideLayouts/slideLayout386.xml"/><Relationship Id="rId14" Type="http://schemas.openxmlformats.org/officeDocument/2006/relationships/slideLayout" Target="../slideLayouts/slideLayout391.xml"/><Relationship Id="rId22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1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400.xml"/><Relationship Id="rId1" Type="http://schemas.openxmlformats.org/officeDocument/2006/relationships/slideLayout" Target="../slideLayouts/slideLayout399.xml"/><Relationship Id="rId6" Type="http://schemas.openxmlformats.org/officeDocument/2006/relationships/slideLayout" Target="../slideLayouts/slideLayout404.xml"/><Relationship Id="rId5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40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2.xml"/><Relationship Id="rId13" Type="http://schemas.openxmlformats.org/officeDocument/2006/relationships/slideLayout" Target="../slideLayouts/slideLayout417.xml"/><Relationship Id="rId18" Type="http://schemas.openxmlformats.org/officeDocument/2006/relationships/slideLayout" Target="../slideLayouts/slideLayout422.xml"/><Relationship Id="rId26" Type="http://schemas.openxmlformats.org/officeDocument/2006/relationships/slideLayout" Target="../slideLayouts/slideLayout430.xml"/><Relationship Id="rId3" Type="http://schemas.openxmlformats.org/officeDocument/2006/relationships/slideLayout" Target="../slideLayouts/slideLayout407.xml"/><Relationship Id="rId21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11.xml"/><Relationship Id="rId12" Type="http://schemas.openxmlformats.org/officeDocument/2006/relationships/slideLayout" Target="../slideLayouts/slideLayout416.xml"/><Relationship Id="rId17" Type="http://schemas.openxmlformats.org/officeDocument/2006/relationships/slideLayout" Target="../slideLayouts/slideLayout421.xml"/><Relationship Id="rId25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406.xml"/><Relationship Id="rId16" Type="http://schemas.openxmlformats.org/officeDocument/2006/relationships/slideLayout" Target="../slideLayouts/slideLayout420.xml"/><Relationship Id="rId20" Type="http://schemas.openxmlformats.org/officeDocument/2006/relationships/slideLayout" Target="../slideLayouts/slideLayout424.xml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1" Type="http://schemas.openxmlformats.org/officeDocument/2006/relationships/slideLayout" Target="../slideLayouts/slideLayout415.xml"/><Relationship Id="rId24" Type="http://schemas.openxmlformats.org/officeDocument/2006/relationships/slideLayout" Target="../slideLayouts/slideLayout428.xml"/><Relationship Id="rId5" Type="http://schemas.openxmlformats.org/officeDocument/2006/relationships/slideLayout" Target="../slideLayouts/slideLayout409.xml"/><Relationship Id="rId15" Type="http://schemas.openxmlformats.org/officeDocument/2006/relationships/slideLayout" Target="../slideLayouts/slideLayout419.xml"/><Relationship Id="rId23" Type="http://schemas.openxmlformats.org/officeDocument/2006/relationships/slideLayout" Target="../slideLayouts/slideLayout427.xml"/><Relationship Id="rId28" Type="http://schemas.openxmlformats.org/officeDocument/2006/relationships/image" Target="../media/image18.png"/><Relationship Id="rId10" Type="http://schemas.openxmlformats.org/officeDocument/2006/relationships/slideLayout" Target="../slideLayouts/slideLayout414.xml"/><Relationship Id="rId19" Type="http://schemas.openxmlformats.org/officeDocument/2006/relationships/slideLayout" Target="../slideLayouts/slideLayout423.xml"/><Relationship Id="rId4" Type="http://schemas.openxmlformats.org/officeDocument/2006/relationships/slideLayout" Target="../slideLayouts/slideLayout408.xml"/><Relationship Id="rId9" Type="http://schemas.openxmlformats.org/officeDocument/2006/relationships/slideLayout" Target="../slideLayouts/slideLayout413.xml"/><Relationship Id="rId14" Type="http://schemas.openxmlformats.org/officeDocument/2006/relationships/slideLayout" Target="../slideLayouts/slideLayout418.xml"/><Relationship Id="rId22" Type="http://schemas.openxmlformats.org/officeDocument/2006/relationships/slideLayout" Target="../slideLayouts/slideLayout426.xml"/><Relationship Id="rId27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8.xml"/><Relationship Id="rId13" Type="http://schemas.openxmlformats.org/officeDocument/2006/relationships/slideLayout" Target="../slideLayouts/slideLayout443.xml"/><Relationship Id="rId18" Type="http://schemas.openxmlformats.org/officeDocument/2006/relationships/slideLayout" Target="../slideLayouts/slideLayout448.xml"/><Relationship Id="rId26" Type="http://schemas.openxmlformats.org/officeDocument/2006/relationships/image" Target="../media/image18.png"/><Relationship Id="rId3" Type="http://schemas.openxmlformats.org/officeDocument/2006/relationships/slideLayout" Target="../slideLayouts/slideLayout433.xml"/><Relationship Id="rId21" Type="http://schemas.openxmlformats.org/officeDocument/2006/relationships/slideLayout" Target="../slideLayouts/slideLayout451.xml"/><Relationship Id="rId7" Type="http://schemas.openxmlformats.org/officeDocument/2006/relationships/slideLayout" Target="../slideLayouts/slideLayout437.xml"/><Relationship Id="rId12" Type="http://schemas.openxmlformats.org/officeDocument/2006/relationships/slideLayout" Target="../slideLayouts/slideLayout442.xml"/><Relationship Id="rId17" Type="http://schemas.openxmlformats.org/officeDocument/2006/relationships/slideLayout" Target="../slideLayouts/slideLayout447.xml"/><Relationship Id="rId25" Type="http://schemas.openxmlformats.org/officeDocument/2006/relationships/theme" Target="../theme/theme18.xml"/><Relationship Id="rId2" Type="http://schemas.openxmlformats.org/officeDocument/2006/relationships/slideLayout" Target="../slideLayouts/slideLayout432.xml"/><Relationship Id="rId16" Type="http://schemas.openxmlformats.org/officeDocument/2006/relationships/slideLayout" Target="../slideLayouts/slideLayout446.xml"/><Relationship Id="rId20" Type="http://schemas.openxmlformats.org/officeDocument/2006/relationships/slideLayout" Target="../slideLayouts/slideLayout450.xml"/><Relationship Id="rId1" Type="http://schemas.openxmlformats.org/officeDocument/2006/relationships/slideLayout" Target="../slideLayouts/slideLayout431.xml"/><Relationship Id="rId6" Type="http://schemas.openxmlformats.org/officeDocument/2006/relationships/slideLayout" Target="../slideLayouts/slideLayout436.xml"/><Relationship Id="rId11" Type="http://schemas.openxmlformats.org/officeDocument/2006/relationships/slideLayout" Target="../slideLayouts/slideLayout441.xml"/><Relationship Id="rId24" Type="http://schemas.openxmlformats.org/officeDocument/2006/relationships/slideLayout" Target="../slideLayouts/slideLayout454.xml"/><Relationship Id="rId5" Type="http://schemas.openxmlformats.org/officeDocument/2006/relationships/slideLayout" Target="../slideLayouts/slideLayout435.xml"/><Relationship Id="rId15" Type="http://schemas.openxmlformats.org/officeDocument/2006/relationships/slideLayout" Target="../slideLayouts/slideLayout445.xml"/><Relationship Id="rId23" Type="http://schemas.openxmlformats.org/officeDocument/2006/relationships/slideLayout" Target="../slideLayouts/slideLayout453.xml"/><Relationship Id="rId10" Type="http://schemas.openxmlformats.org/officeDocument/2006/relationships/slideLayout" Target="../slideLayouts/slideLayout440.xml"/><Relationship Id="rId19" Type="http://schemas.openxmlformats.org/officeDocument/2006/relationships/slideLayout" Target="../slideLayouts/slideLayout449.xml"/><Relationship Id="rId4" Type="http://schemas.openxmlformats.org/officeDocument/2006/relationships/slideLayout" Target="../slideLayouts/slideLayout434.xml"/><Relationship Id="rId9" Type="http://schemas.openxmlformats.org/officeDocument/2006/relationships/slideLayout" Target="../slideLayouts/slideLayout439.xml"/><Relationship Id="rId14" Type="http://schemas.openxmlformats.org/officeDocument/2006/relationships/slideLayout" Target="../slideLayouts/slideLayout444.xml"/><Relationship Id="rId22" Type="http://schemas.openxmlformats.org/officeDocument/2006/relationships/slideLayout" Target="../slideLayouts/slideLayout45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2.xml"/><Relationship Id="rId3" Type="http://schemas.openxmlformats.org/officeDocument/2006/relationships/slideLayout" Target="../slideLayouts/slideLayout457.xml"/><Relationship Id="rId7" Type="http://schemas.openxmlformats.org/officeDocument/2006/relationships/slideLayout" Target="../slideLayouts/slideLayout461.xml"/><Relationship Id="rId2" Type="http://schemas.openxmlformats.org/officeDocument/2006/relationships/slideLayout" Target="../slideLayouts/slideLayout456.xml"/><Relationship Id="rId1" Type="http://schemas.openxmlformats.org/officeDocument/2006/relationships/slideLayout" Target="../slideLayouts/slideLayout455.xml"/><Relationship Id="rId6" Type="http://schemas.openxmlformats.org/officeDocument/2006/relationships/slideLayout" Target="../slideLayouts/slideLayout460.xml"/><Relationship Id="rId5" Type="http://schemas.openxmlformats.org/officeDocument/2006/relationships/slideLayout" Target="../slideLayouts/slideLayout459.xml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458.xml"/><Relationship Id="rId9" Type="http://schemas.openxmlformats.org/officeDocument/2006/relationships/slideLayout" Target="../slideLayouts/slideLayout46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heme" Target="../theme/theme3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9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04.xml"/><Relationship Id="rId34" Type="http://schemas.openxmlformats.org/officeDocument/2006/relationships/slideLayout" Target="../slideLayouts/slideLayout117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41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40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slideLayout" Target="../slideLayouts/slideLayout150.xml"/><Relationship Id="rId39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45.xml"/><Relationship Id="rId34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33" Type="http://schemas.openxmlformats.org/officeDocument/2006/relationships/slideLayout" Target="../slideLayouts/slideLayout157.xml"/><Relationship Id="rId38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29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32" Type="http://schemas.openxmlformats.org/officeDocument/2006/relationships/slideLayout" Target="../slideLayouts/slideLayout156.xml"/><Relationship Id="rId37" Type="http://schemas.openxmlformats.org/officeDocument/2006/relationships/slideLayout" Target="../slideLayouts/slideLayout161.xml"/><Relationship Id="rId40" Type="http://schemas.openxmlformats.org/officeDocument/2006/relationships/theme" Target="../theme/theme5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slideLayout" Target="../slideLayouts/slideLayout152.xml"/><Relationship Id="rId36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31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slideLayout" Target="../slideLayouts/slideLayout151.xml"/><Relationship Id="rId30" Type="http://schemas.openxmlformats.org/officeDocument/2006/relationships/slideLayout" Target="../slideLayouts/slideLayout154.xml"/><Relationship Id="rId35" Type="http://schemas.openxmlformats.org/officeDocument/2006/relationships/slideLayout" Target="../slideLayouts/slideLayout159.xml"/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slideLayout" Target="../slideLayouts/slideLayout188.xml"/><Relationship Id="rId33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87.xml"/><Relationship Id="rId32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31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slideLayout" Target="../slideLayouts/slideLayout190.xml"/><Relationship Id="rId30" Type="http://schemas.openxmlformats.org/officeDocument/2006/relationships/slideLayout" Target="../slideLayouts/slideLayout193.xml"/><Relationship Id="rId8" Type="http://schemas.openxmlformats.org/officeDocument/2006/relationships/slideLayout" Target="../slideLayouts/slideLayout17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26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199.xml"/><Relationship Id="rId21" Type="http://schemas.openxmlformats.org/officeDocument/2006/relationships/slideLayout" Target="../slideLayouts/slideLayout217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5" Type="http://schemas.openxmlformats.org/officeDocument/2006/relationships/slideLayout" Target="../slideLayouts/slideLayout221.xml"/><Relationship Id="rId33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24" Type="http://schemas.openxmlformats.org/officeDocument/2006/relationships/slideLayout" Target="../slideLayouts/slideLayout220.xml"/><Relationship Id="rId32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01.xml"/><Relationship Id="rId15" Type="http://schemas.openxmlformats.org/officeDocument/2006/relationships/slideLayout" Target="../slideLayouts/slideLayout211.xml"/><Relationship Id="rId23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06.xml"/><Relationship Id="rId19" Type="http://schemas.openxmlformats.org/officeDocument/2006/relationships/slideLayout" Target="../slideLayouts/slideLayout215.xml"/><Relationship Id="rId31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Relationship Id="rId22" Type="http://schemas.openxmlformats.org/officeDocument/2006/relationships/slideLayout" Target="../slideLayouts/slideLayout218.xml"/><Relationship Id="rId27" Type="http://schemas.openxmlformats.org/officeDocument/2006/relationships/slideLayout" Target="../slideLayouts/slideLayout223.xml"/><Relationship Id="rId30" Type="http://schemas.openxmlformats.org/officeDocument/2006/relationships/slideLayout" Target="../slideLayouts/slideLayout226.xml"/><Relationship Id="rId8" Type="http://schemas.openxmlformats.org/officeDocument/2006/relationships/slideLayout" Target="../slideLayouts/slideLayout20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12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977C2EB-B665-BA44-8D94-0C066E377D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67750" y="4813300"/>
            <a:ext cx="3369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C5B8E9DC-5A2F-3746-BC66-D31D97FA3932}" type="slidenum">
              <a:rPr lang="en-US" sz="90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548DF5-E189-DC47-B299-3DA41B87BE89}"/>
              </a:ext>
            </a:extLst>
          </p:cNvPr>
          <p:cNvSpPr txBox="1"/>
          <p:nvPr userDrawn="1"/>
        </p:nvSpPr>
        <p:spPr>
          <a:xfrm>
            <a:off x="7338350" y="4800880"/>
            <a:ext cx="11288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0" i="0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© IBM Corporation</a:t>
            </a:r>
            <a:endParaRPr lang="en-US" sz="900" b="0" i="0" dirty="0">
              <a:solidFill>
                <a:schemeClr val="tx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3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817" r:id="rId2"/>
    <p:sldLayoutId id="2147483792" r:id="rId3"/>
    <p:sldLayoutId id="2147483816" r:id="rId4"/>
  </p:sldLayoutIdLst>
  <p:hf hdr="0" dt="0"/>
  <p:txStyles>
    <p:titleStyle>
      <a:lvl1pPr algn="l" defTabSz="457200" rtl="0" eaLnBrk="0" fontAlgn="base" latinLnBrk="0" hangingPunct="0">
        <a:lnSpc>
          <a:spcPct val="90000"/>
        </a:lnSpc>
        <a:spcBef>
          <a:spcPts val="0"/>
        </a:spcBef>
        <a:buClr>
          <a:srgbClr val="2776C3"/>
        </a:buClr>
        <a:buNone/>
        <a:defRPr lang="en-US" sz="2400" b="1" kern="1200" noProof="0" dirty="0">
          <a:solidFill>
            <a:srgbClr val="284A5F"/>
          </a:solidFill>
          <a:latin typeface="Helvetica Neue Light" panose="02000403000000020004" pitchFamily="2" charset="0"/>
          <a:ea typeface="Helvetica Neue Light" panose="02000403000000020004" pitchFamily="2" charset="0"/>
          <a:cs typeface="Helvetica Neue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173038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3968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625475" indent="-168275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803275" indent="-173038" algn="l" defTabSz="457200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43" y="114300"/>
            <a:ext cx="7601009" cy="514350"/>
          </a:xfrm>
          <a:prstGeom prst="rect">
            <a:avLst/>
          </a:prstGeom>
        </p:spPr>
        <p:txBody>
          <a:bodyPr vert="horz" lIns="0" tIns="45719" rIns="91438" bIns="4571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43" y="800100"/>
            <a:ext cx="8229124" cy="3886200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126" y="316707"/>
            <a:ext cx="457141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457143" y="628650"/>
            <a:ext cx="8229124" cy="0"/>
          </a:xfrm>
          <a:prstGeom prst="line">
            <a:avLst/>
          </a:prstGeom>
          <a:noFill/>
          <a:ln w="9360" cap="sq">
            <a:solidFill>
              <a:srgbClr val="00B2F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1438" tIns="45719" rIns="91438" bIns="45719"/>
          <a:lstStyle/>
          <a:p>
            <a:pPr>
              <a:defRPr/>
            </a:pPr>
            <a:endParaRPr lang="en-US" sz="110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34C4B60-5926-A447-B4AE-CD0C45EE9C7E}"/>
              </a:ext>
            </a:extLst>
          </p:cNvPr>
          <p:cNvSpPr txBox="1">
            <a:spLocks/>
          </p:cNvSpPr>
          <p:nvPr userDrawn="1"/>
        </p:nvSpPr>
        <p:spPr>
          <a:xfrm>
            <a:off x="6552948" y="4914901"/>
            <a:ext cx="2133323" cy="126206"/>
          </a:xfrm>
          <a:prstGeom prst="rect">
            <a:avLst/>
          </a:prstGeom>
        </p:spPr>
        <p:txBody>
          <a:bodyPr vert="horz" lIns="68564" tIns="34286" rIns="68564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74B8A698-2037-2E43-8A87-CE6311967B28}" type="slidenum">
              <a:rPr lang="en-US" sz="500" smtClean="0">
                <a:solidFill>
                  <a:schemeClr val="bg2"/>
                </a:solidFill>
              </a:rPr>
              <a:t>‹#›</a:t>
            </a:fld>
            <a:endParaRPr lang="en-US" sz="500" dirty="0">
              <a:solidFill>
                <a:schemeClr val="bg2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0ACA95A-8E11-A345-89F8-A1F16F9412A2}"/>
              </a:ext>
            </a:extLst>
          </p:cNvPr>
          <p:cNvSpPr txBox="1">
            <a:spLocks/>
          </p:cNvSpPr>
          <p:nvPr userDrawn="1"/>
        </p:nvSpPr>
        <p:spPr>
          <a:xfrm>
            <a:off x="457146" y="4914901"/>
            <a:ext cx="2133323" cy="126206"/>
          </a:xfrm>
          <a:prstGeom prst="rect">
            <a:avLst/>
          </a:prstGeom>
        </p:spPr>
        <p:txBody>
          <a:bodyPr vert="horz" lIns="68564" tIns="34286" rIns="68564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fld id="{4238C73A-4BF5-0346-A613-B648FAAD9D6A}" type="datetime4">
              <a:rPr lang="en-US" sz="500" smtClean="0">
                <a:solidFill>
                  <a:schemeClr val="bg2"/>
                </a:solidFill>
              </a:rPr>
              <a:t>August 10, 2020</a:t>
            </a:fld>
            <a:endParaRPr lang="en-US" sz="500" dirty="0">
              <a:solidFill>
                <a:schemeClr val="bg2"/>
              </a:solidFill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197C738F-EA88-9244-9B18-B0FCE34E015A}"/>
              </a:ext>
            </a:extLst>
          </p:cNvPr>
          <p:cNvSpPr txBox="1">
            <a:spLocks/>
          </p:cNvSpPr>
          <p:nvPr userDrawn="1"/>
        </p:nvSpPr>
        <p:spPr>
          <a:xfrm>
            <a:off x="3505345" y="4914901"/>
            <a:ext cx="2133323" cy="126206"/>
          </a:xfrm>
          <a:prstGeom prst="rect">
            <a:avLst/>
          </a:prstGeom>
        </p:spPr>
        <p:txBody>
          <a:bodyPr vert="horz" lIns="68564" tIns="34286" rIns="68564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700" dirty="0">
                <a:solidFill>
                  <a:srgbClr val="FF0000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87650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322" r:id="rId14"/>
    <p:sldLayoutId id="2147484323" r:id="rId15"/>
    <p:sldLayoutId id="2147484324" r:id="rId16"/>
    <p:sldLayoutId id="2147484325" r:id="rId17"/>
    <p:sldLayoutId id="2147484326" r:id="rId18"/>
    <p:sldLayoutId id="2147484327" r:id="rId19"/>
    <p:sldLayoutId id="2147484328" r:id="rId20"/>
    <p:sldLayoutId id="2147484329" r:id="rId21"/>
    <p:sldLayoutId id="2147484330" r:id="rId22"/>
    <p:sldLayoutId id="2147484331" r:id="rId23"/>
    <p:sldLayoutId id="2147484332" r:id="rId24"/>
    <p:sldLayoutId id="2147484333" r:id="rId25"/>
    <p:sldLayoutId id="2147484334" r:id="rId26"/>
    <p:sldLayoutId id="2147484335" r:id="rId27"/>
    <p:sldLayoutId id="2147484336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42848" rtl="0" eaLnBrk="1" latinLnBrk="0" hangingPunct="1">
        <a:spcBef>
          <a:spcPct val="0"/>
        </a:spcBef>
        <a:buNone/>
        <a:defRPr sz="1500" kern="1200">
          <a:solidFill>
            <a:schemeClr val="bg1"/>
          </a:solidFill>
          <a:latin typeface="IBM Plex Sans" panose="020B0503050203000203" pitchFamily="34" charset="77"/>
          <a:ea typeface="+mj-ea"/>
          <a:cs typeface="IBM Plex Sans" panose="020B0503050203000203" pitchFamily="34" charset="77"/>
        </a:defRPr>
      </a:lvl1pPr>
    </p:titleStyle>
    <p:bodyStyle>
      <a:lvl1pPr marL="257138" indent="-257138" algn="l" defTabSz="342848" rtl="0" eaLnBrk="1" latinLnBrk="0" hangingPunct="1">
        <a:spcBef>
          <a:spcPts val="1050"/>
        </a:spcBef>
        <a:spcAft>
          <a:spcPts val="525"/>
        </a:spcAft>
        <a:buFont typeface="Arial"/>
        <a:buChar char="•"/>
        <a:defRPr sz="15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1pPr>
      <a:lvl2pPr marL="554748" indent="-214281" algn="l" defTabSz="342848" rtl="0" eaLnBrk="1" latinLnBrk="0" hangingPunct="1">
        <a:spcBef>
          <a:spcPts val="225"/>
        </a:spcBef>
        <a:spcAft>
          <a:spcPts val="75"/>
        </a:spcAft>
        <a:buFont typeface="Arial"/>
        <a:buChar char="–"/>
        <a:defRPr sz="14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2pPr>
      <a:lvl3pPr marL="857123" indent="-171425" algn="l" defTabSz="342848" rtl="0" eaLnBrk="1" latinLnBrk="0" hangingPunct="1">
        <a:spcBef>
          <a:spcPts val="150"/>
        </a:spcBef>
        <a:spcAft>
          <a:spcPts val="75"/>
        </a:spcAft>
        <a:buFont typeface="Arial"/>
        <a:buChar char="•"/>
        <a:defRPr sz="12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3pPr>
      <a:lvl4pPr marL="1199970" indent="-171425" algn="l" defTabSz="342848" rtl="0" eaLnBrk="1" latinLnBrk="0" hangingPunct="1">
        <a:spcBef>
          <a:spcPts val="0"/>
        </a:spcBef>
        <a:buFont typeface="Arial"/>
        <a:buChar char="–"/>
        <a:defRPr sz="11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4pPr>
      <a:lvl5pPr marL="1542818" indent="-171425" algn="l" defTabSz="342848" rtl="0" eaLnBrk="1" latinLnBrk="0" hangingPunct="1">
        <a:spcBef>
          <a:spcPts val="0"/>
        </a:spcBef>
        <a:buFont typeface="Arial"/>
        <a:buChar char="»"/>
        <a:defRPr sz="1100" kern="1200">
          <a:solidFill>
            <a:schemeClr val="bg1"/>
          </a:solidFill>
          <a:latin typeface="IBM Plex Sans" panose="020B0503050203000203" pitchFamily="34" charset="77"/>
          <a:ea typeface="+mn-ea"/>
          <a:cs typeface="IBM Plex Sans" panose="020B0503050203000203" pitchFamily="34" charset="77"/>
        </a:defRPr>
      </a:lvl5pPr>
      <a:lvl6pPr marL="1885668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5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4" indent="-171425" algn="l" defTabSz="34284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8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8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5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4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3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8" algn="l" defTabSz="34284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8" y="4787902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99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IBM Automation / © 2020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2" y="4787902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99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441113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98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5pPr>
      <a:lvl6pPr marL="36219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6pPr>
      <a:lvl7pPr marL="72439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7pPr>
      <a:lvl8pPr marL="108659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8pPr>
      <a:lvl9pPr marL="14487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399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277" indent="-173558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399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554" indent="-173558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399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013" indent="-173558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399" b="0" i="0" baseline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0" indent="0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FontTx/>
        <a:buNone/>
        <a:tabLst/>
        <a:defRPr sz="1399" b="0" i="0">
          <a:solidFill>
            <a:schemeClr val="bg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2097" indent="-1295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6pPr>
      <a:lvl7pPr marL="1944296" indent="-1295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7pPr>
      <a:lvl8pPr marL="2306493" indent="-1295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8pPr>
      <a:lvl9pPr marL="2668692" indent="-129537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1pPr>
      <a:lvl2pPr marL="362196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2pPr>
      <a:lvl3pPr marL="724396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3pPr>
      <a:lvl4pPr marL="1086592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4pPr>
      <a:lvl5pPr marL="1448790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5pPr>
      <a:lvl6pPr marL="1810988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6pPr>
      <a:lvl7pPr marL="2173185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7pPr>
      <a:lvl8pPr marL="2535382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8pPr>
      <a:lvl9pPr marL="2897579" algn="l" defTabSz="724396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19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7879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7879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9404829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356" r:id="rId7"/>
    <p:sldLayoutId id="2147484357" r:id="rId8"/>
    <p:sldLayoutId id="2147484358" r:id="rId9"/>
    <p:sldLayoutId id="2147484359" r:id="rId10"/>
    <p:sldLayoutId id="2147484360" r:id="rId11"/>
    <p:sldLayoutId id="2147484361" r:id="rId12"/>
    <p:sldLayoutId id="2147484362" r:id="rId13"/>
    <p:sldLayoutId id="2147484363" r:id="rId14"/>
    <p:sldLayoutId id="2147484364" r:id="rId15"/>
    <p:sldLayoutId id="2147484365" r:id="rId16"/>
    <p:sldLayoutId id="2147484366" r:id="rId17"/>
    <p:sldLayoutId id="2147484367" r:id="rId18"/>
    <p:sldLayoutId id="2147484368" r:id="rId19"/>
    <p:sldLayoutId id="2147484369" r:id="rId20"/>
    <p:sldLayoutId id="2147484370" r:id="rId21"/>
    <p:sldLayoutId id="2147484371" r:id="rId22"/>
    <p:sldLayoutId id="2147484372" r:id="rId23"/>
    <p:sldLayoutId id="2147484373" r:id="rId24"/>
    <p:sldLayoutId id="2147484374" r:id="rId25"/>
    <p:sldLayoutId id="2147484375" r:id="rId26"/>
    <p:sldLayoutId id="2147484376" r:id="rId27"/>
    <p:sldLayoutId id="2147484377" r:id="rId28"/>
    <p:sldLayoutId id="2147484378" r:id="rId29"/>
    <p:sldLayoutId id="2147484379" r:id="rId30"/>
    <p:sldLayoutId id="2147484380" r:id="rId31"/>
    <p:sldLayoutId id="2147484381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40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40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400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40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9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5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977C2EB-B665-BA44-8D94-0C066E377D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67750" y="4813301"/>
            <a:ext cx="3369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C5B8E9DC-5A2F-3746-BC66-D31D97FA3932}" type="slidenum">
              <a:rPr lang="en-US" sz="90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548DF5-E189-DC47-B299-3DA41B87BE89}"/>
              </a:ext>
            </a:extLst>
          </p:cNvPr>
          <p:cNvSpPr txBox="1"/>
          <p:nvPr userDrawn="1"/>
        </p:nvSpPr>
        <p:spPr>
          <a:xfrm>
            <a:off x="7338351" y="4800881"/>
            <a:ext cx="11288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0" i="0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© IBM Corporation</a:t>
            </a:r>
            <a:endParaRPr lang="en-US" sz="900" b="0" i="0" dirty="0">
              <a:solidFill>
                <a:schemeClr val="tx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606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8" r:id="rId5"/>
  </p:sldLayoutIdLst>
  <p:hf hdr="0" dt="0"/>
  <p:txStyles>
    <p:titleStyle>
      <a:lvl1pPr algn="l" defTabSz="457189" rtl="0" eaLnBrk="0" fontAlgn="base" latinLnBrk="0" hangingPunct="0">
        <a:lnSpc>
          <a:spcPct val="90000"/>
        </a:lnSpc>
        <a:spcBef>
          <a:spcPts val="0"/>
        </a:spcBef>
        <a:buClr>
          <a:srgbClr val="2776C3"/>
        </a:buClr>
        <a:buNone/>
        <a:defRPr lang="en-US" sz="2400" b="1" kern="1200" noProof="0" dirty="0">
          <a:solidFill>
            <a:srgbClr val="284A5F"/>
          </a:solidFill>
          <a:latin typeface="Helvetica Neue Light" panose="02000403000000020004" pitchFamily="2" charset="0"/>
          <a:ea typeface="Helvetica Neue Light" panose="02000403000000020004" pitchFamily="2" charset="0"/>
          <a:cs typeface="Helvetica Neue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173034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39686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625460" indent="-168271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80325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579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  <p:sldLayoutId id="2147484404" r:id="rId15"/>
    <p:sldLayoutId id="2147484405" r:id="rId16"/>
    <p:sldLayoutId id="2147484406" r:id="rId17"/>
    <p:sldLayoutId id="2147484407" r:id="rId18"/>
    <p:sldLayoutId id="2147484408" r:id="rId19"/>
    <p:sldLayoutId id="2147484409" r:id="rId20"/>
    <p:sldLayoutId id="2147484410" r:id="rId21"/>
    <p:sldLayoutId id="2147484411" r:id="rId22"/>
    <p:sldLayoutId id="2147484412" r:id="rId23"/>
    <p:sldLayoutId id="2147484413" r:id="rId24"/>
    <p:sldLayoutId id="2147484414" r:id="rId25"/>
    <p:sldLayoutId id="2147484415" r:id="rId26"/>
    <p:sldLayoutId id="2147484416" r:id="rId27"/>
    <p:sldLayoutId id="2147484417" r:id="rId28"/>
    <p:sldLayoutId id="2147484418" r:id="rId29"/>
    <p:sldLayoutId id="2147484419" r:id="rId30"/>
    <p:sldLayoutId id="2147484420" r:id="rId31"/>
    <p:sldLayoutId id="2147484421" r:id="rId32"/>
    <p:sldLayoutId id="2147484422" r:id="rId3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685800" rtl="0" eaLnBrk="1" latinLnBrk="0" hangingPunct="1">
        <a:lnSpc>
          <a:spcPct val="105000"/>
        </a:lnSpc>
        <a:spcBef>
          <a:spcPts val="750"/>
        </a:spcBef>
        <a:buFontTx/>
        <a:buNone/>
        <a:tabLst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142875" indent="-142875" algn="l" defTabSz="685800" rtl="0" eaLnBrk="1" latinLnBrk="0" hangingPunct="1">
        <a:lnSpc>
          <a:spcPct val="105000"/>
        </a:lnSpc>
        <a:spcBef>
          <a:spcPts val="625"/>
        </a:spcBef>
        <a:buFont typeface="LucidaGrande" charset="0"/>
        <a:buChar char="-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285750" indent="-142875" algn="l" defTabSz="68580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428625" indent="-142875" algn="l" defTabSz="685800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571500" indent="-142875" algn="l" defTabSz="68580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>
          <p15:clr>
            <a:srgbClr val="5ACBF0"/>
          </p15:clr>
        </p15:guide>
        <p15:guide id="2" pos="4608">
          <p15:clr>
            <a:srgbClr val="5ACBF0"/>
          </p15:clr>
        </p15:guide>
        <p15:guide id="6" orient="horz" pos="1440">
          <p15:clr>
            <a:srgbClr val="5ACBF0"/>
          </p15:clr>
        </p15:guide>
        <p15:guide id="9" orient="horz" pos="288">
          <p15:clr>
            <a:srgbClr val="FDE53C"/>
          </p15:clr>
        </p15:guide>
        <p15:guide id="10" pos="288">
          <p15:clr>
            <a:srgbClr val="FDE53C"/>
          </p15:clr>
        </p15:guide>
        <p15:guide id="11" pos="8928">
          <p15:clr>
            <a:srgbClr val="FDE53C"/>
          </p15:clr>
        </p15:guide>
        <p15:guide id="12" orient="horz" pos="3744">
          <p15:clr>
            <a:srgbClr val="5ACBF0"/>
          </p15:clr>
        </p15:guide>
        <p15:guide id="13" orient="horz" pos="4896">
          <p15:clr>
            <a:srgbClr val="FDE53C"/>
          </p15:clr>
        </p15:guide>
        <p15:guide id="14" pos="2304">
          <p15:clr>
            <a:srgbClr val="5ACBF0"/>
          </p15:clr>
        </p15:guide>
        <p15:guide id="15" pos="6912">
          <p15:clr>
            <a:srgbClr val="5ACBF0"/>
          </p15:clr>
        </p15:guide>
        <p15:guide id="16" pos="7200">
          <p15:clr>
            <a:srgbClr val="5ACBF0"/>
          </p15:clr>
        </p15:guide>
        <p15:guide id="17" pos="6624">
          <p15:clr>
            <a:srgbClr val="5ACBF0"/>
          </p15:clr>
        </p15:guide>
        <p15:guide id="18" pos="4896">
          <p15:clr>
            <a:srgbClr val="5ACBF0"/>
          </p15:clr>
        </p15:guide>
        <p15:guide id="19" pos="4320">
          <p15:clr>
            <a:srgbClr val="5ACBF0"/>
          </p15:clr>
        </p15:guide>
        <p15:guide id="20" pos="2592">
          <p15:clr>
            <a:srgbClr val="5ACBF0"/>
          </p15:clr>
        </p15:guide>
        <p15:guide id="21" pos="2016">
          <p15:clr>
            <a:srgbClr val="5ACBF0"/>
          </p15:clr>
        </p15:guide>
        <p15:guide id="22" orient="horz" pos="432">
          <p15:clr>
            <a:srgbClr val="9FCC3B"/>
          </p15:clr>
        </p15:guide>
        <p15:guide id="23" orient="horz" pos="4752">
          <p15:clr>
            <a:srgbClr val="9FCC3B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5539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4" r:id="rId1"/>
    <p:sldLayoutId id="2147484425" r:id="rId2"/>
    <p:sldLayoutId id="2147484426" r:id="rId3"/>
    <p:sldLayoutId id="2147484427" r:id="rId4"/>
    <p:sldLayoutId id="2147484428" r:id="rId5"/>
    <p:sldLayoutId id="2147484429" r:id="rId6"/>
    <p:sldLayoutId id="2147484430" r:id="rId7"/>
    <p:sldLayoutId id="2147484431" r:id="rId8"/>
    <p:sldLayoutId id="2147484432" r:id="rId9"/>
    <p:sldLayoutId id="2147484433" r:id="rId10"/>
    <p:sldLayoutId id="2147484434" r:id="rId11"/>
    <p:sldLayoutId id="2147484435" r:id="rId12"/>
    <p:sldLayoutId id="2147484436" r:id="rId13"/>
    <p:sldLayoutId id="2147484437" r:id="rId14"/>
    <p:sldLayoutId id="2147484438" r:id="rId15"/>
    <p:sldLayoutId id="2147484439" r:id="rId16"/>
    <p:sldLayoutId id="2147484440" r:id="rId17"/>
    <p:sldLayoutId id="2147484441" r:id="rId18"/>
    <p:sldLayoutId id="2147484442" r:id="rId19"/>
    <p:sldLayoutId id="2147484443" r:id="rId20"/>
    <p:sldLayoutId id="2147484444" r:id="rId2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685800" rtl="0" eaLnBrk="1" latinLnBrk="0" hangingPunct="1">
        <a:lnSpc>
          <a:spcPct val="105000"/>
        </a:lnSpc>
        <a:spcBef>
          <a:spcPts val="750"/>
        </a:spcBef>
        <a:buFontTx/>
        <a:buNone/>
        <a:tabLst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142875" indent="-142875" algn="l" defTabSz="685800" rtl="0" eaLnBrk="1" latinLnBrk="0" hangingPunct="1">
        <a:lnSpc>
          <a:spcPct val="105000"/>
        </a:lnSpc>
        <a:spcBef>
          <a:spcPts val="625"/>
        </a:spcBef>
        <a:buFont typeface="LucidaGrande" charset="0"/>
        <a:buChar char="-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285750" indent="-142875" algn="l" defTabSz="68580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428625" indent="-142875" algn="l" defTabSz="685800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571500" indent="-142875" algn="l" defTabSz="68580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125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5ACBF0"/>
          </p15:clr>
        </p15:guide>
        <p15:guide id="2" orient="horz" pos="2592">
          <p15:clr>
            <a:srgbClr val="5ACBF0"/>
          </p15:clr>
        </p15:guide>
        <p15:guide id="3" pos="8928">
          <p15:clr>
            <a:srgbClr val="F26B43"/>
          </p15:clr>
        </p15:guide>
        <p15:guide id="4" pos="288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4896">
          <p15:clr>
            <a:srgbClr val="F26B43"/>
          </p15:clr>
        </p15:guide>
        <p15:guide id="7" pos="2304">
          <p15:clr>
            <a:srgbClr val="5ACBF0"/>
          </p15:clr>
        </p15:guide>
        <p15:guide id="8" pos="6912">
          <p15:clr>
            <a:srgbClr val="5ACBF0"/>
          </p15:clr>
        </p15:guide>
        <p15:guide id="9" orient="horz" pos="1440">
          <p15:clr>
            <a:srgbClr val="5ACBF0"/>
          </p15:clr>
        </p15:guide>
        <p15:guide id="10" orient="horz" pos="3744">
          <p15:clr>
            <a:srgbClr val="5ACBF0"/>
          </p15:clr>
        </p15:guide>
        <p15:guide id="13" pos="2592">
          <p15:clr>
            <a:srgbClr val="5ACBF0"/>
          </p15:clr>
        </p15:guide>
        <p15:guide id="14" pos="2016">
          <p15:clr>
            <a:srgbClr val="5ACBF0"/>
          </p15:clr>
        </p15:guide>
        <p15:guide id="15" pos="4896">
          <p15:clr>
            <a:srgbClr val="5ACBF0"/>
          </p15:clr>
        </p15:guide>
        <p15:guide id="16" pos="4320">
          <p15:clr>
            <a:srgbClr val="5ACBF0"/>
          </p15:clr>
        </p15:guide>
        <p15:guide id="17" pos="7200">
          <p15:clr>
            <a:srgbClr val="5ACBF0"/>
          </p15:clr>
        </p15:guide>
        <p15:guide id="18" pos="6624">
          <p15:clr>
            <a:srgbClr val="5ACBF0"/>
          </p15:clr>
        </p15:guide>
        <p15:guide id="21" orient="horz" pos="432">
          <p15:clr>
            <a:srgbClr val="C35EA4"/>
          </p15:clr>
        </p15:guide>
        <p15:guide id="22" orient="horz" pos="4752">
          <p15:clr>
            <a:srgbClr val="C35EA4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8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4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977C2EB-B665-BA44-8D94-0C066E377D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67750" y="4813300"/>
            <a:ext cx="3369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8" tIns="45719" rIns="91438" bIns="45719">
            <a:spAutoFit/>
          </a:bodyPr>
          <a:lstStyle/>
          <a:p>
            <a:fld id="{C5B8E9DC-5A2F-3746-BC66-D31D97FA3932}" type="slidenum">
              <a:rPr lang="en-US" sz="90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548DF5-E189-DC47-B299-3DA41B87BE89}"/>
              </a:ext>
            </a:extLst>
          </p:cNvPr>
          <p:cNvSpPr txBox="1"/>
          <p:nvPr userDrawn="1"/>
        </p:nvSpPr>
        <p:spPr>
          <a:xfrm>
            <a:off x="7338352" y="4800880"/>
            <a:ext cx="1140452" cy="230830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r>
              <a:rPr lang="de-DE" sz="900" b="0" i="0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© IBM Corporation</a:t>
            </a:r>
            <a:endParaRPr lang="en-US" sz="900" b="0" i="0" dirty="0">
              <a:solidFill>
                <a:schemeClr val="tx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C6800-32BD-3449-A9E8-09D1189CC009}"/>
              </a:ext>
            </a:extLst>
          </p:cNvPr>
          <p:cNvSpPr/>
          <p:nvPr userDrawn="1"/>
        </p:nvSpPr>
        <p:spPr>
          <a:xfrm>
            <a:off x="0" y="4819221"/>
            <a:ext cx="11496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FF0000"/>
                </a:solidFill>
              </a:rPr>
              <a:t>IBM Confidential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6004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49" r:id="rId4"/>
    <p:sldLayoutId id="2147484450" r:id="rId5"/>
    <p:sldLayoutId id="2147484452" r:id="rId6"/>
  </p:sldLayoutIdLst>
  <p:hf hdr="0" dt="0"/>
  <p:txStyles>
    <p:titleStyle>
      <a:lvl1pPr algn="l" defTabSz="457189" rtl="0" eaLnBrk="0" fontAlgn="base" latinLnBrk="0" hangingPunct="0">
        <a:lnSpc>
          <a:spcPct val="90000"/>
        </a:lnSpc>
        <a:spcBef>
          <a:spcPts val="0"/>
        </a:spcBef>
        <a:buClr>
          <a:srgbClr val="2776C3"/>
        </a:buClr>
        <a:buNone/>
        <a:defRPr lang="en-US" sz="2400" b="1" kern="1200" noProof="0" dirty="0">
          <a:solidFill>
            <a:srgbClr val="284A5F"/>
          </a:solidFill>
          <a:latin typeface="Helvetica Neue Light" panose="02000403000000020004" pitchFamily="2" charset="0"/>
          <a:ea typeface="Helvetica Neue Light" panose="02000403000000020004" pitchFamily="2" charset="0"/>
          <a:cs typeface="Helvetica Neue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173034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39686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625460" indent="-168271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80325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41" y="114300"/>
            <a:ext cx="7601009" cy="51435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41" y="800100"/>
            <a:ext cx="8229124" cy="3886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124" y="316707"/>
            <a:ext cx="457141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457141" y="628650"/>
            <a:ext cx="8229124" cy="0"/>
          </a:xfrm>
          <a:prstGeom prst="line">
            <a:avLst/>
          </a:prstGeom>
          <a:noFill/>
          <a:ln w="9360" cap="sq">
            <a:solidFill>
              <a:srgbClr val="00B2F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013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34C4B60-5926-A447-B4AE-CD0C45EE9C7E}"/>
              </a:ext>
            </a:extLst>
          </p:cNvPr>
          <p:cNvSpPr txBox="1">
            <a:spLocks/>
          </p:cNvSpPr>
          <p:nvPr userDrawn="1"/>
        </p:nvSpPr>
        <p:spPr>
          <a:xfrm>
            <a:off x="6552946" y="4914901"/>
            <a:ext cx="2133323" cy="126206"/>
          </a:xfrm>
          <a:prstGeom prst="rect">
            <a:avLst/>
          </a:prstGeom>
        </p:spPr>
        <p:txBody>
          <a:bodyPr vert="horz" lIns="68565" tIns="34286" rIns="68565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74B8A698-2037-2E43-8A87-CE6311967B28}" type="slidenum">
              <a:rPr lang="en-US" sz="500" smtClean="0">
                <a:solidFill>
                  <a:schemeClr val="bg2"/>
                </a:solidFill>
              </a:rPr>
              <a:t>‹#›</a:t>
            </a:fld>
            <a:endParaRPr lang="en-US" sz="500" dirty="0">
              <a:solidFill>
                <a:schemeClr val="bg2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0ACA95A-8E11-A345-89F8-A1F16F9412A2}"/>
              </a:ext>
            </a:extLst>
          </p:cNvPr>
          <p:cNvSpPr txBox="1">
            <a:spLocks/>
          </p:cNvSpPr>
          <p:nvPr userDrawn="1"/>
        </p:nvSpPr>
        <p:spPr>
          <a:xfrm>
            <a:off x="457144" y="4914901"/>
            <a:ext cx="2133323" cy="126206"/>
          </a:xfrm>
          <a:prstGeom prst="rect">
            <a:avLst/>
          </a:prstGeom>
        </p:spPr>
        <p:txBody>
          <a:bodyPr vert="horz" lIns="68565" tIns="34286" rIns="68565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fld id="{4238C73A-4BF5-0346-A613-B648FAAD9D6A}" type="datetime4">
              <a:rPr lang="en-US" sz="500" smtClean="0">
                <a:solidFill>
                  <a:schemeClr val="bg2"/>
                </a:solidFill>
              </a:rPr>
              <a:t>August 10, 2020</a:t>
            </a:fld>
            <a:endParaRPr lang="en-US" sz="5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44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4" r:id="rId1"/>
    <p:sldLayoutId id="2147484455" r:id="rId2"/>
    <p:sldLayoutId id="2147484456" r:id="rId3"/>
    <p:sldLayoutId id="2147484457" r:id="rId4"/>
    <p:sldLayoutId id="2147484458" r:id="rId5"/>
    <p:sldLayoutId id="2147484459" r:id="rId6"/>
    <p:sldLayoutId id="2147484460" r:id="rId7"/>
    <p:sldLayoutId id="2147484461" r:id="rId8"/>
    <p:sldLayoutId id="2147484462" r:id="rId9"/>
    <p:sldLayoutId id="2147484463" r:id="rId10"/>
    <p:sldLayoutId id="2147484464" r:id="rId11"/>
    <p:sldLayoutId id="2147484465" r:id="rId12"/>
    <p:sldLayoutId id="2147484466" r:id="rId13"/>
    <p:sldLayoutId id="2147484467" r:id="rId14"/>
    <p:sldLayoutId id="2147484468" r:id="rId15"/>
    <p:sldLayoutId id="2147484469" r:id="rId16"/>
    <p:sldLayoutId id="2147484470" r:id="rId17"/>
    <p:sldLayoutId id="2147484471" r:id="rId18"/>
    <p:sldLayoutId id="2147484472" r:id="rId19"/>
    <p:sldLayoutId id="2147484473" r:id="rId20"/>
    <p:sldLayoutId id="2147484474" r:id="rId21"/>
    <p:sldLayoutId id="2147484475" r:id="rId22"/>
    <p:sldLayoutId id="2147484476" r:id="rId23"/>
    <p:sldLayoutId id="2147484477" r:id="rId24"/>
    <p:sldLayoutId id="2147484478" r:id="rId25"/>
    <p:sldLayoutId id="2147484479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42866" rtl="0" eaLnBrk="1" latinLnBrk="0" hangingPunct="1">
        <a:spcBef>
          <a:spcPct val="0"/>
        </a:spcBef>
        <a:buNone/>
        <a:defRPr sz="1500" kern="1200">
          <a:solidFill>
            <a:schemeClr val="bg1"/>
          </a:solidFill>
          <a:latin typeface="Avenir Book" panose="02000503020000020003" pitchFamily="2" charset="0"/>
          <a:ea typeface="+mj-ea"/>
          <a:cs typeface="Avenir Book" panose="02000503020000020003" pitchFamily="2" charset="0"/>
        </a:defRPr>
      </a:lvl1pPr>
    </p:titleStyle>
    <p:bodyStyle>
      <a:lvl1pPr marL="257150" indent="-257150" algn="l" defTabSz="342866" rtl="0" eaLnBrk="1" latinLnBrk="0" hangingPunct="1">
        <a:spcBef>
          <a:spcPts val="1050"/>
        </a:spcBef>
        <a:spcAft>
          <a:spcPts val="525"/>
        </a:spcAft>
        <a:buFont typeface="Arial"/>
        <a:buChar char="•"/>
        <a:defRPr sz="15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1pPr>
      <a:lvl2pPr marL="554776" indent="-214291" algn="l" defTabSz="342866" rtl="0" eaLnBrk="1" latinLnBrk="0" hangingPunct="1">
        <a:spcBef>
          <a:spcPts val="225"/>
        </a:spcBef>
        <a:spcAft>
          <a:spcPts val="75"/>
        </a:spcAft>
        <a:buFont typeface="Arial"/>
        <a:buChar char="–"/>
        <a:defRPr sz="135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2pPr>
      <a:lvl3pPr marL="857165" indent="-171433" algn="l" defTabSz="342866" rtl="0" eaLnBrk="1" latinLnBrk="0" hangingPunct="1">
        <a:spcBef>
          <a:spcPts val="150"/>
        </a:spcBef>
        <a:spcAft>
          <a:spcPts val="75"/>
        </a:spcAft>
        <a:buFont typeface="Arial"/>
        <a:buChar char="•"/>
        <a:defRPr sz="12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3pPr>
      <a:lvl4pPr marL="1200030" indent="-171433" algn="l" defTabSz="342866" rtl="0" eaLnBrk="1" latinLnBrk="0" hangingPunct="1">
        <a:spcBef>
          <a:spcPts val="0"/>
        </a:spcBef>
        <a:buFont typeface="Arial"/>
        <a:buChar char="–"/>
        <a:defRPr sz="105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4pPr>
      <a:lvl5pPr marL="1542896" indent="-171433" algn="l" defTabSz="342866" rtl="0" eaLnBrk="1" latinLnBrk="0" hangingPunct="1">
        <a:spcBef>
          <a:spcPts val="0"/>
        </a:spcBef>
        <a:buFont typeface="Arial"/>
        <a:buChar char="»"/>
        <a:defRPr sz="105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5pPr>
      <a:lvl6pPr marL="1885762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7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3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58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41" y="114300"/>
            <a:ext cx="7601009" cy="51435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41" y="800100"/>
            <a:ext cx="8229124" cy="3886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124" y="316707"/>
            <a:ext cx="457141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457141" y="628650"/>
            <a:ext cx="8229124" cy="0"/>
          </a:xfrm>
          <a:prstGeom prst="line">
            <a:avLst/>
          </a:prstGeom>
          <a:noFill/>
          <a:ln w="9360" cap="sq">
            <a:solidFill>
              <a:srgbClr val="00B2F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013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22A4B3F-E8A7-C44C-8AAD-072707E086E4}"/>
              </a:ext>
            </a:extLst>
          </p:cNvPr>
          <p:cNvSpPr txBox="1">
            <a:spLocks/>
          </p:cNvSpPr>
          <p:nvPr userDrawn="1"/>
        </p:nvSpPr>
        <p:spPr>
          <a:xfrm>
            <a:off x="6552946" y="4914901"/>
            <a:ext cx="2133323" cy="126206"/>
          </a:xfrm>
          <a:prstGeom prst="rect">
            <a:avLst/>
          </a:prstGeom>
        </p:spPr>
        <p:txBody>
          <a:bodyPr vert="horz" lIns="68565" tIns="34286" rIns="68565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74B8A698-2037-2E43-8A87-CE6311967B28}" type="slidenum">
              <a:rPr lang="en-US" sz="500" smtClean="0">
                <a:solidFill>
                  <a:schemeClr val="bg2"/>
                </a:solidFill>
              </a:rPr>
              <a:t>‹#›</a:t>
            </a:fld>
            <a:endParaRPr lang="en-US" sz="500" dirty="0">
              <a:solidFill>
                <a:schemeClr val="bg2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848863E8-8471-144C-8BE7-9ED19B30693E}"/>
              </a:ext>
            </a:extLst>
          </p:cNvPr>
          <p:cNvSpPr txBox="1">
            <a:spLocks/>
          </p:cNvSpPr>
          <p:nvPr userDrawn="1"/>
        </p:nvSpPr>
        <p:spPr>
          <a:xfrm>
            <a:off x="457144" y="4914901"/>
            <a:ext cx="2133323" cy="126206"/>
          </a:xfrm>
          <a:prstGeom prst="rect">
            <a:avLst/>
          </a:prstGeom>
        </p:spPr>
        <p:txBody>
          <a:bodyPr vert="horz" lIns="68565" tIns="34286" rIns="68565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fld id="{4238C73A-4BF5-0346-A613-B648FAAD9D6A}" type="datetime4">
              <a:rPr lang="en-US" sz="500" smtClean="0">
                <a:solidFill>
                  <a:schemeClr val="bg2"/>
                </a:solidFill>
              </a:rPr>
              <a:t>August 10, 2020</a:t>
            </a:fld>
            <a:endParaRPr lang="en-US" sz="500" dirty="0">
              <a:solidFill>
                <a:schemeClr val="bg2"/>
              </a:solidFill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7DB7F9-32A2-FA43-80E5-EC6088BF1ECD}"/>
              </a:ext>
            </a:extLst>
          </p:cNvPr>
          <p:cNvSpPr txBox="1">
            <a:spLocks/>
          </p:cNvSpPr>
          <p:nvPr userDrawn="1"/>
        </p:nvSpPr>
        <p:spPr>
          <a:xfrm>
            <a:off x="3505343" y="4914901"/>
            <a:ext cx="2133323" cy="126206"/>
          </a:xfrm>
          <a:prstGeom prst="rect">
            <a:avLst/>
          </a:prstGeom>
        </p:spPr>
        <p:txBody>
          <a:bodyPr vert="horz" lIns="68565" tIns="34286" rIns="68565" bIns="34286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700" dirty="0">
                <a:solidFill>
                  <a:srgbClr val="FF0000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31763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  <p:sldLayoutId id="2147484485" r:id="rId5"/>
    <p:sldLayoutId id="2147484486" r:id="rId6"/>
    <p:sldLayoutId id="2147484487" r:id="rId7"/>
    <p:sldLayoutId id="2147484488" r:id="rId8"/>
    <p:sldLayoutId id="2147484489" r:id="rId9"/>
    <p:sldLayoutId id="2147484490" r:id="rId10"/>
    <p:sldLayoutId id="2147484491" r:id="rId11"/>
    <p:sldLayoutId id="2147484492" r:id="rId12"/>
    <p:sldLayoutId id="2147484493" r:id="rId13"/>
    <p:sldLayoutId id="2147484494" r:id="rId14"/>
    <p:sldLayoutId id="2147484495" r:id="rId15"/>
    <p:sldLayoutId id="2147484496" r:id="rId16"/>
    <p:sldLayoutId id="2147484497" r:id="rId17"/>
    <p:sldLayoutId id="2147484498" r:id="rId18"/>
    <p:sldLayoutId id="2147484499" r:id="rId19"/>
    <p:sldLayoutId id="2147484500" r:id="rId20"/>
    <p:sldLayoutId id="2147484501" r:id="rId21"/>
    <p:sldLayoutId id="2147484502" r:id="rId22"/>
    <p:sldLayoutId id="2147484503" r:id="rId23"/>
    <p:sldLayoutId id="2147484504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42866" rtl="0" eaLnBrk="1" latinLnBrk="0" hangingPunct="1">
        <a:spcBef>
          <a:spcPct val="0"/>
        </a:spcBef>
        <a:buNone/>
        <a:defRPr sz="1500" kern="1200">
          <a:solidFill>
            <a:schemeClr val="bg1"/>
          </a:solidFill>
          <a:latin typeface="Avenir Book" panose="02000503020000020003" pitchFamily="2" charset="0"/>
          <a:ea typeface="+mj-ea"/>
          <a:cs typeface="Avenir Book" panose="02000503020000020003" pitchFamily="2" charset="0"/>
        </a:defRPr>
      </a:lvl1pPr>
    </p:titleStyle>
    <p:bodyStyle>
      <a:lvl1pPr marL="257150" indent="-257150" algn="l" defTabSz="342866" rtl="0" eaLnBrk="1" latinLnBrk="0" hangingPunct="1">
        <a:spcBef>
          <a:spcPts val="1050"/>
        </a:spcBef>
        <a:spcAft>
          <a:spcPts val="525"/>
        </a:spcAft>
        <a:buFont typeface="Arial"/>
        <a:buChar char="•"/>
        <a:defRPr sz="15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1pPr>
      <a:lvl2pPr marL="554776" indent="-214291" algn="l" defTabSz="342866" rtl="0" eaLnBrk="1" latinLnBrk="0" hangingPunct="1">
        <a:spcBef>
          <a:spcPts val="225"/>
        </a:spcBef>
        <a:spcAft>
          <a:spcPts val="75"/>
        </a:spcAft>
        <a:buFont typeface="Arial"/>
        <a:buChar char="–"/>
        <a:defRPr sz="135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2pPr>
      <a:lvl3pPr marL="857165" indent="-171433" algn="l" defTabSz="342866" rtl="0" eaLnBrk="1" latinLnBrk="0" hangingPunct="1">
        <a:spcBef>
          <a:spcPts val="150"/>
        </a:spcBef>
        <a:spcAft>
          <a:spcPts val="75"/>
        </a:spcAft>
        <a:buFont typeface="Arial"/>
        <a:buChar char="•"/>
        <a:defRPr sz="12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3pPr>
      <a:lvl4pPr marL="1200030" indent="-171433" algn="l" defTabSz="342866" rtl="0" eaLnBrk="1" latinLnBrk="0" hangingPunct="1">
        <a:spcBef>
          <a:spcPts val="0"/>
        </a:spcBef>
        <a:buFont typeface="Arial"/>
        <a:buChar char="–"/>
        <a:defRPr sz="105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4pPr>
      <a:lvl5pPr marL="1542896" indent="-171433" algn="l" defTabSz="342866" rtl="0" eaLnBrk="1" latinLnBrk="0" hangingPunct="1">
        <a:spcBef>
          <a:spcPts val="0"/>
        </a:spcBef>
        <a:buFont typeface="Arial"/>
        <a:buChar char="»"/>
        <a:defRPr sz="105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5pPr>
      <a:lvl6pPr marL="1885762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7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3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58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7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3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28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69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5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4977C2EB-B665-BA44-8D94-0C066E377D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67750" y="4813301"/>
            <a:ext cx="3369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C5B8E9DC-5A2F-3746-BC66-D31D97FA3932}" type="slidenum">
              <a:rPr lang="en-US" sz="900">
                <a:solidFill>
                  <a:schemeClr val="tx1"/>
                </a:solidFill>
              </a:rPr>
              <a:pPr/>
              <a:t>‹#›</a:t>
            </a:fld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548DF5-E189-DC47-B299-3DA41B87BE89}"/>
              </a:ext>
            </a:extLst>
          </p:cNvPr>
          <p:cNvSpPr txBox="1"/>
          <p:nvPr userDrawn="1"/>
        </p:nvSpPr>
        <p:spPr>
          <a:xfrm>
            <a:off x="7338351" y="4800881"/>
            <a:ext cx="11288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0" i="0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© IBM Corporation</a:t>
            </a:r>
            <a:endParaRPr lang="en-US" sz="900" b="0" i="0" dirty="0">
              <a:solidFill>
                <a:schemeClr val="tx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5321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6" r:id="rId1"/>
    <p:sldLayoutId id="2147484507" r:id="rId2"/>
    <p:sldLayoutId id="2147484508" r:id="rId3"/>
    <p:sldLayoutId id="2147484509" r:id="rId4"/>
    <p:sldLayoutId id="2147484510" r:id="rId5"/>
    <p:sldLayoutId id="2147484512" r:id="rId6"/>
    <p:sldLayoutId id="2147484513" r:id="rId7"/>
    <p:sldLayoutId id="2147484514" r:id="rId8"/>
    <p:sldLayoutId id="2147484515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457189" rtl="0" eaLnBrk="0" fontAlgn="base" latinLnBrk="0" hangingPunct="0">
        <a:lnSpc>
          <a:spcPct val="90000"/>
        </a:lnSpc>
        <a:spcBef>
          <a:spcPts val="0"/>
        </a:spcBef>
        <a:buClr>
          <a:srgbClr val="2776C3"/>
        </a:buClr>
        <a:buNone/>
        <a:defRPr lang="en-US" sz="2400" b="1" kern="1200" noProof="0" dirty="0">
          <a:solidFill>
            <a:srgbClr val="284A5F"/>
          </a:solidFill>
          <a:latin typeface="Helvetica Neue Light" panose="02000403000000020004" pitchFamily="2" charset="0"/>
          <a:ea typeface="Helvetica Neue Light" panose="02000403000000020004" pitchFamily="2" charset="0"/>
          <a:cs typeface="Helvetica Neue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173034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39686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625460" indent="-168271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803255" indent="-173034" algn="l" defTabSz="457189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6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45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  <p:sldLayoutId id="2147483897" r:id="rId26"/>
    <p:sldLayoutId id="2147483898" r:id="rId27"/>
    <p:sldLayoutId id="2147483899" r:id="rId28"/>
    <p:sldLayoutId id="2147483900" r:id="rId29"/>
    <p:sldLayoutId id="2147483901" r:id="rId30"/>
    <p:sldLayoutId id="2147483902" r:id="rId31"/>
    <p:sldLayoutId id="2147483903" r:id="rId32"/>
    <p:sldLayoutId id="2147483904" r:id="rId33"/>
    <p:sldLayoutId id="2147483905" r:id="rId34"/>
    <p:sldLayoutId id="2147483906" r:id="rId35"/>
    <p:sldLayoutId id="2147483907" r:id="rId36"/>
    <p:sldLayoutId id="2147483908" r:id="rId37"/>
  </p:sldLayoutIdLst>
  <p:hf sldNum="0" hdr="0" ftr="0" dt="0"/>
  <p:txStyles>
    <p:titleStyle>
      <a:lvl1pPr algn="l" defTabSz="457178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IBM Plex Sans" panose="020B0503050203000203" pitchFamily="34" charset="0"/>
          <a:cs typeface="Arial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1pPr>
      <a:lvl2pPr marL="173030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2pPr>
      <a:lvl3pPr marL="396855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3pPr>
      <a:lvl4pPr marL="625445" indent="-168267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4pPr>
      <a:lvl5pPr marL="803235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6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57392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  <p:sldLayoutId id="2147483923" r:id="rId14"/>
    <p:sldLayoutId id="2147483924" r:id="rId15"/>
    <p:sldLayoutId id="2147483925" r:id="rId16"/>
    <p:sldLayoutId id="2147483926" r:id="rId17"/>
    <p:sldLayoutId id="2147483927" r:id="rId18"/>
    <p:sldLayoutId id="2147483928" r:id="rId19"/>
    <p:sldLayoutId id="2147483929" r:id="rId20"/>
    <p:sldLayoutId id="2147483930" r:id="rId21"/>
    <p:sldLayoutId id="2147483931" r:id="rId22"/>
    <p:sldLayoutId id="2147483932" r:id="rId23"/>
    <p:sldLayoutId id="2147483933" r:id="rId24"/>
    <p:sldLayoutId id="2147483934" r:id="rId25"/>
    <p:sldLayoutId id="2147483935" r:id="rId26"/>
    <p:sldLayoutId id="2147483936" r:id="rId27"/>
    <p:sldLayoutId id="2147483937" r:id="rId28"/>
    <p:sldLayoutId id="2147483938" r:id="rId29"/>
    <p:sldLayoutId id="2147483939" r:id="rId30"/>
    <p:sldLayoutId id="2147483940" r:id="rId31"/>
    <p:sldLayoutId id="2147483941" r:id="rId32"/>
    <p:sldLayoutId id="2147483942" r:id="rId33"/>
    <p:sldLayoutId id="2147483943" r:id="rId34"/>
    <p:sldLayoutId id="2147483944" r:id="rId35"/>
    <p:sldLayoutId id="2147483945" r:id="rId36"/>
    <p:sldLayoutId id="2147483946" r:id="rId37"/>
    <p:sldLayoutId id="2147483947" r:id="rId38"/>
    <p:sldLayoutId id="2147483948" r:id="rId39"/>
    <p:sldLayoutId id="2147483949" r:id="rId40"/>
    <p:sldLayoutId id="2147483950" r:id="rId41"/>
    <p:sldLayoutId id="2147483951" r:id="rId42"/>
  </p:sldLayoutIdLst>
  <p:hf hdr="0" dt="0"/>
  <p:txStyles>
    <p:titleStyle>
      <a:lvl1pPr algn="l" defTabSz="457178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IBM Plex Sans" panose="020B0503050203000203" pitchFamily="34" charset="0"/>
          <a:cs typeface="Arial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1pPr>
      <a:lvl2pPr marL="173030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2pPr>
      <a:lvl3pPr marL="396855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3pPr>
      <a:lvl4pPr marL="625445" indent="-168267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4pPr>
      <a:lvl5pPr marL="803235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01170"/>
            <a:ext cx="4114800" cy="4491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192026"/>
            <a:ext cx="4114800" cy="450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4826480"/>
            <a:ext cx="2057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4826480"/>
            <a:ext cx="64008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bg2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hink 2018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9503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  <p:sldLayoutId id="2147483970" r:id="rId17"/>
    <p:sldLayoutId id="2147483971" r:id="rId18"/>
    <p:sldLayoutId id="2147483972" r:id="rId19"/>
    <p:sldLayoutId id="2147483973" r:id="rId20"/>
    <p:sldLayoutId id="2147483974" r:id="rId21"/>
    <p:sldLayoutId id="2147483975" r:id="rId22"/>
    <p:sldLayoutId id="2147483976" r:id="rId23"/>
    <p:sldLayoutId id="2147483977" r:id="rId24"/>
    <p:sldLayoutId id="2147483978" r:id="rId25"/>
    <p:sldLayoutId id="2147483979" r:id="rId26"/>
    <p:sldLayoutId id="2147483980" r:id="rId27"/>
    <p:sldLayoutId id="2147483981" r:id="rId28"/>
    <p:sldLayoutId id="2147483982" r:id="rId29"/>
    <p:sldLayoutId id="2147483983" r:id="rId30"/>
    <p:sldLayoutId id="2147483984" r:id="rId31"/>
    <p:sldLayoutId id="2147483985" r:id="rId32"/>
    <p:sldLayoutId id="2147483986" r:id="rId33"/>
    <p:sldLayoutId id="2147483987" r:id="rId34"/>
    <p:sldLayoutId id="2147483988" r:id="rId35"/>
    <p:sldLayoutId id="2147483989" r:id="rId36"/>
    <p:sldLayoutId id="2147483990" r:id="rId37"/>
    <p:sldLayoutId id="2147483991" r:id="rId38"/>
    <p:sldLayoutId id="2147483992" r:id="rId39"/>
    <p:sldLayoutId id="2147483993" r:id="rId40"/>
    <p:sldLayoutId id="2147483994" r:id="rId41"/>
  </p:sldLayoutIdLst>
  <p:hf hdr="0" dt="0"/>
  <p:txStyles>
    <p:titleStyle>
      <a:lvl1pPr algn="l" defTabSz="457178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IBM Plex Sans" panose="020B0503050203000203" pitchFamily="34" charset="0"/>
          <a:cs typeface="Arial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1pPr>
      <a:lvl2pPr marL="173030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2pPr>
      <a:lvl3pPr marL="396855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3pPr>
      <a:lvl4pPr marL="625445" indent="-168267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4pPr>
      <a:lvl5pPr marL="803235" indent="-173030" algn="l" defTabSz="457178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Placeholder 1">
            <a:extLst>
              <a:ext uri="{FF2B5EF4-FFF2-40B4-BE49-F238E27FC236}">
                <a16:creationId xmlns:a16="http://schemas.microsoft.com/office/drawing/2014/main" id="{BA52B01A-239F-9A4A-8736-846BBAEE95B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28600" y="201216"/>
            <a:ext cx="4114800" cy="449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63" name="Text Placeholder 2">
            <a:extLst>
              <a:ext uri="{FF2B5EF4-FFF2-40B4-BE49-F238E27FC236}">
                <a16:creationId xmlns:a16="http://schemas.microsoft.com/office/drawing/2014/main" id="{00CC6ED0-60F7-5D4B-82DD-368854C3176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800600" y="191691"/>
            <a:ext cx="41148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45D071-C626-4246-BB71-40607BDFF3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8000" y="4826794"/>
            <a:ext cx="2057400" cy="1369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685688" eaLnBrk="1" fontAlgn="auto" hangingPunct="1">
              <a:spcBef>
                <a:spcPts val="0"/>
              </a:spcBef>
              <a:spcAft>
                <a:spcPts val="0"/>
              </a:spcAft>
              <a:defRPr sz="600" baseline="0">
                <a:solidFill>
                  <a:srgbClr val="000000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pPr>
              <a:defRPr/>
            </a:pPr>
            <a:fld id="{40919AB9-D045-934F-AADA-8F554C959A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2E5341-867C-5B44-8EA6-EDC4193C8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600" y="4826794"/>
            <a:ext cx="6400800" cy="1369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685688" eaLnBrk="1" fontAlgn="auto" hangingPunct="1">
              <a:spcBef>
                <a:spcPts val="0"/>
              </a:spcBef>
              <a:spcAft>
                <a:spcPts val="0"/>
              </a:spcAft>
              <a:defRPr sz="600" baseline="0">
                <a:solidFill>
                  <a:srgbClr val="000000"/>
                </a:solidFill>
                <a:latin typeface="+mn-lt"/>
                <a:ea typeface="IBM Plex Sans" panose="020B0503050203000203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© 2019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2651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  <p:sldLayoutId id="2147484144" r:id="rId4"/>
    <p:sldLayoutId id="2147484145" r:id="rId5"/>
    <p:sldLayoutId id="2147484146" r:id="rId6"/>
    <p:sldLayoutId id="2147484147" r:id="rId7"/>
    <p:sldLayoutId id="2147484148" r:id="rId8"/>
    <p:sldLayoutId id="2147484149" r:id="rId9"/>
    <p:sldLayoutId id="2147484150" r:id="rId10"/>
    <p:sldLayoutId id="2147484151" r:id="rId11"/>
    <p:sldLayoutId id="2147484152" r:id="rId12"/>
    <p:sldLayoutId id="2147484153" r:id="rId13"/>
    <p:sldLayoutId id="2147484154" r:id="rId14"/>
    <p:sldLayoutId id="2147484155" r:id="rId15"/>
    <p:sldLayoutId id="2147484156" r:id="rId16"/>
    <p:sldLayoutId id="2147484157" r:id="rId17"/>
    <p:sldLayoutId id="2147484158" r:id="rId18"/>
    <p:sldLayoutId id="2147484159" r:id="rId19"/>
    <p:sldLayoutId id="2147484160" r:id="rId20"/>
    <p:sldLayoutId id="2147484161" r:id="rId21"/>
    <p:sldLayoutId id="2147484162" r:id="rId22"/>
    <p:sldLayoutId id="2147484163" r:id="rId23"/>
    <p:sldLayoutId id="2147484164" r:id="rId24"/>
    <p:sldLayoutId id="2147484165" r:id="rId25"/>
    <p:sldLayoutId id="2147484166" r:id="rId26"/>
    <p:sldLayoutId id="2147484167" r:id="rId27"/>
    <p:sldLayoutId id="2147484168" r:id="rId28"/>
    <p:sldLayoutId id="2147484169" r:id="rId29"/>
    <p:sldLayoutId id="2147484170" r:id="rId30"/>
    <p:sldLayoutId id="2147484171" r:id="rId31"/>
    <p:sldLayoutId id="2147484172" r:id="rId32"/>
    <p:sldLayoutId id="2147484173" r:id="rId33"/>
    <p:sldLayoutId id="2147484174" r:id="rId34"/>
    <p:sldLayoutId id="2147484175" r:id="rId35"/>
    <p:sldLayoutId id="2147484176" r:id="rId36"/>
    <p:sldLayoutId id="2147484177" r:id="rId37"/>
    <p:sldLayoutId id="2147484178" r:id="rId38"/>
    <p:sldLayoutId id="2147484180" r:id="rId39"/>
  </p:sldLayoutIdLst>
  <p:hf hdr="0" dt="0"/>
  <p:txStyles>
    <p:titleStyle>
      <a:lvl1pPr algn="l" defTabSz="4548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bg2"/>
          </a:solidFill>
          <a:latin typeface="+mj-lt"/>
          <a:ea typeface="IBM Plex Sans" panose="020B0503050203000203" pitchFamily="34" charset="0"/>
          <a:cs typeface="Arial" charset="0"/>
        </a:defRPr>
      </a:lvl1pPr>
      <a:lvl2pPr algn="l" defTabSz="4548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2pPr>
      <a:lvl3pPr algn="l" defTabSz="4548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3pPr>
      <a:lvl4pPr algn="l" defTabSz="4548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4pPr>
      <a:lvl5pPr algn="l" defTabSz="4548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5pPr>
      <a:lvl6pPr marL="342892" algn="l" defTabSz="455999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6pPr>
      <a:lvl7pPr marL="685783" algn="l" defTabSz="455999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7pPr>
      <a:lvl8pPr marL="1028675" algn="l" defTabSz="455999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8pPr>
      <a:lvl9pPr marL="1371566" algn="l" defTabSz="455999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IBM Plex Sans" panose="020B0503050203000203" pitchFamily="34" charset="0"/>
          <a:ea typeface="IBM Plex Sans" panose="020B0503050203000203" pitchFamily="34" charset="0"/>
          <a:cs typeface="Arial" panose="020B0604020202020204" pitchFamily="34" charset="0"/>
        </a:defRPr>
      </a:lvl9pPr>
    </p:titleStyle>
    <p:bodyStyle>
      <a:lvl1pPr algn="l" defTabSz="454819" rtl="0" eaLnBrk="0" fontAlgn="base" hangingPunct="0">
        <a:spcBef>
          <a:spcPts val="1097"/>
        </a:spcBef>
        <a:spcAft>
          <a:spcPct val="0"/>
        </a:spcAft>
        <a:buFont typeface="Arial" panose="020B0604020202020204" pitchFamily="34" charset="0"/>
        <a:defRPr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1pPr>
      <a:lvl2pPr marL="171450" indent="-171450" algn="l" defTabSz="454819" rtl="0" eaLnBrk="0" fontAlgn="base" hangingPunct="0">
        <a:spcBef>
          <a:spcPts val="1097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2pPr>
      <a:lvl3pPr marL="395288" indent="-171450" algn="l" defTabSz="454819" rtl="0" eaLnBrk="0" fontAlgn="base" hangingPunct="0">
        <a:spcBef>
          <a:spcPts val="1097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3pPr>
      <a:lvl4pPr marL="623888" indent="-166688" algn="l" defTabSz="454819" rtl="0" eaLnBrk="0" fontAlgn="base" hangingPunct="0">
        <a:spcBef>
          <a:spcPts val="1097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4pPr>
      <a:lvl5pPr marL="801291" indent="-171450" algn="l" defTabSz="454819" rtl="0" eaLnBrk="0" fontAlgn="base" hangingPunct="0">
        <a:spcBef>
          <a:spcPts val="1097"/>
        </a:spcBef>
        <a:spcAft>
          <a:spcPct val="0"/>
        </a:spcAft>
        <a:buFont typeface="Arial" panose="020B0604020202020204" pitchFamily="34" charset="0"/>
        <a:buChar char="»"/>
        <a:defRPr kern="1200">
          <a:solidFill>
            <a:schemeClr val="bg2"/>
          </a:solidFill>
          <a:latin typeface="+mn-lt"/>
          <a:ea typeface="IBM Plex Sans" panose="020B0503050203000203" pitchFamily="34" charset="0"/>
          <a:cs typeface="Arial" charset="0"/>
        </a:defRPr>
      </a:lvl5pPr>
      <a:lvl6pPr marL="2514398" indent="-228581" algn="l" defTabSz="45716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1" indent="-228581" algn="l" defTabSz="45716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1" algn="l" defTabSz="45716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1" algn="l" defTabSz="45716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2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6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2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4" algn="l" defTabSz="457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7" y="4787901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99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787901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99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025916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  <p:sldLayoutId id="2147484197" r:id="rId15"/>
    <p:sldLayoutId id="2147484198" r:id="rId16"/>
    <p:sldLayoutId id="2147484199" r:id="rId17"/>
    <p:sldLayoutId id="2147484200" r:id="rId18"/>
    <p:sldLayoutId id="2147484201" r:id="rId19"/>
    <p:sldLayoutId id="2147484202" r:id="rId20"/>
    <p:sldLayoutId id="2147484203" r:id="rId21"/>
    <p:sldLayoutId id="2147484204" r:id="rId22"/>
    <p:sldLayoutId id="2147484205" r:id="rId23"/>
    <p:sldLayoutId id="2147484206" r:id="rId24"/>
    <p:sldLayoutId id="2147484207" r:id="rId25"/>
    <p:sldLayoutId id="2147484208" r:id="rId26"/>
    <p:sldLayoutId id="2147484209" r:id="rId27"/>
    <p:sldLayoutId id="2147484210" r:id="rId28"/>
    <p:sldLayoutId id="2147484211" r:id="rId29"/>
    <p:sldLayoutId id="2147484212" r:id="rId30"/>
    <p:sldLayoutId id="2147484213" r:id="rId31"/>
    <p:sldLayoutId id="2147484214" r:id="rId32"/>
    <p:sldLayoutId id="2147484215" r:id="rId3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98" b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5pPr>
      <a:lvl6pPr marL="3622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6pPr>
      <a:lvl7pPr marL="72441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7pPr>
      <a:lvl8pPr marL="108661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8pPr>
      <a:lvl9pPr marL="14488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171281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342562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628029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399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802482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1582137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6pPr>
      <a:lvl7pPr marL="1944345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7pPr>
      <a:lvl8pPr marL="2306551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8pPr>
      <a:lvl9pPr marL="2668759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1pPr>
      <a:lvl2pPr marL="362205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2pPr>
      <a:lvl3pPr marL="724414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3pPr>
      <a:lvl4pPr marL="1086619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4pPr>
      <a:lvl5pPr marL="1448826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5pPr>
      <a:lvl6pPr marL="1811033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6pPr>
      <a:lvl7pPr marL="2173239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7pPr>
      <a:lvl8pPr marL="2535445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8pPr>
      <a:lvl9pPr marL="2897651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9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9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7" y="4787900"/>
            <a:ext cx="4114735" cy="1666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99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Group Name / DOC ID / Month XX, 2019 / © 2020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2" y="4787900"/>
            <a:ext cx="1828732" cy="1666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99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619804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0" r:id="rId12"/>
    <p:sldLayoutId id="2147484241" r:id="rId13"/>
    <p:sldLayoutId id="2147484242" r:id="rId14"/>
    <p:sldLayoutId id="2147484243" r:id="rId15"/>
    <p:sldLayoutId id="2147484244" r:id="rId16"/>
    <p:sldLayoutId id="2147484245" r:id="rId17"/>
    <p:sldLayoutId id="2147484246" r:id="rId18"/>
    <p:sldLayoutId id="2147484247" r:id="rId19"/>
    <p:sldLayoutId id="2147484248" r:id="rId20"/>
    <p:sldLayoutId id="2147484249" r:id="rId21"/>
    <p:sldLayoutId id="2147484250" r:id="rId22"/>
    <p:sldLayoutId id="2147484251" r:id="rId23"/>
    <p:sldLayoutId id="2147484252" r:id="rId24"/>
    <p:sldLayoutId id="2147484253" r:id="rId25"/>
    <p:sldLayoutId id="2147484254" r:id="rId26"/>
    <p:sldLayoutId id="2147484255" r:id="rId27"/>
    <p:sldLayoutId id="2147484256" r:id="rId28"/>
    <p:sldLayoutId id="2147484257" r:id="rId29"/>
    <p:sldLayoutId id="2147484258" r:id="rId30"/>
    <p:sldLayoutId id="2147484259" r:id="rId31"/>
    <p:sldLayoutId id="2147484260" r:id="rId32"/>
    <p:sldLayoutId id="2147484261" r:id="rId3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98" b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5pPr>
      <a:lvl6pPr marL="36220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6pPr>
      <a:lvl7pPr marL="72441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7pPr>
      <a:lvl8pPr marL="10866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8pPr>
      <a:lvl9pPr marL="14488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171281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342562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628029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399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802482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399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1582137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6pPr>
      <a:lvl7pPr marL="1944345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7pPr>
      <a:lvl8pPr marL="2306552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8pPr>
      <a:lvl9pPr marL="2668759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1pPr>
      <a:lvl2pPr marL="362206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2pPr>
      <a:lvl3pPr marL="724414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3pPr>
      <a:lvl4pPr marL="1086620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4pPr>
      <a:lvl5pPr marL="1448826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5pPr>
      <a:lvl6pPr marL="1811033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6pPr>
      <a:lvl7pPr marL="2173238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7pPr>
      <a:lvl8pPr marL="2535445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8pPr>
      <a:lvl9pPr marL="2897651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AC0B36-016F-4B62-AB10-D90F76A72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D4470D-478C-482D-AD8E-4CAEB8FD4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85240E-E075-4BD0-B36F-B29710670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EB96F4-2B05-465D-AED0-C2F35D26D936}" type="datetimeFigureOut">
              <a:rPr lang="en-US" smtClean="0"/>
              <a:t>8/1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4EEF26-C902-4B02-9886-5EE9A9123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A281B-2471-4C56-851E-C9AF33336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0F705F-72AB-4F32-AE86-B0955CC3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738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5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428625"/>
            <a:ext cx="4114800" cy="7143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750" y="1285875"/>
            <a:ext cx="4114800" cy="3286125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284286" y="4933620"/>
            <a:ext cx="204925" cy="13690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5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5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7044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7" r:id="rId1"/>
    <p:sldLayoutId id="2147484278" r:id="rId2"/>
    <p:sldLayoutId id="2147484279" r:id="rId3"/>
    <p:sldLayoutId id="2147484280" r:id="rId4"/>
    <p:sldLayoutId id="2147484281" r:id="rId5"/>
    <p:sldLayoutId id="2147484282" r:id="rId6"/>
    <p:sldLayoutId id="2147484283" r:id="rId7"/>
    <p:sldLayoutId id="2147484284" r:id="rId8"/>
    <p:sldLayoutId id="2147484285" r:id="rId9"/>
    <p:sldLayoutId id="2147484286" r:id="rId10"/>
    <p:sldLayoutId id="2147484287" r:id="rId11"/>
    <p:sldLayoutId id="2147484288" r:id="rId12"/>
    <p:sldLayoutId id="2147484289" r:id="rId13"/>
    <p:sldLayoutId id="2147484290" r:id="rId14"/>
    <p:sldLayoutId id="2147484291" r:id="rId15"/>
    <p:sldLayoutId id="2147484292" r:id="rId16"/>
    <p:sldLayoutId id="2147484293" r:id="rId17"/>
    <p:sldLayoutId id="2147484294" r:id="rId18"/>
    <p:sldLayoutId id="2147484295" r:id="rId19"/>
    <p:sldLayoutId id="2147484296" r:id="rId20"/>
    <p:sldLayoutId id="2147484297" r:id="rId21"/>
    <p:sldLayoutId id="2147484298" r:id="rId22"/>
    <p:sldLayoutId id="2147484302" r:id="rId23"/>
    <p:sldLayoutId id="2147484303" r:id="rId24"/>
    <p:sldLayoutId id="2147484304" r:id="rId25"/>
    <p:sldLayoutId id="2147484305" r:id="rId26"/>
    <p:sldLayoutId id="2147484306" r:id="rId27"/>
    <p:sldLayoutId id="2147484307" r:id="rId28"/>
  </p:sldLayoutIdLst>
  <p:hf sldNum="0" hdr="0" ftr="0" dt="0"/>
  <p:txStyles>
    <p:titleStyle>
      <a:lvl1pPr algn="l" defTabSz="685772" rtl="0" eaLnBrk="1" latinLnBrk="0" hangingPunct="1">
        <a:lnSpc>
          <a:spcPct val="90000"/>
        </a:lnSpc>
        <a:spcBef>
          <a:spcPct val="0"/>
        </a:spcBef>
        <a:buNone/>
        <a:defRPr sz="225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685772" rtl="0" eaLnBrk="1" latinLnBrk="0" hangingPunct="1">
        <a:lnSpc>
          <a:spcPct val="105000"/>
        </a:lnSpc>
        <a:spcBef>
          <a:spcPts val="375"/>
        </a:spcBef>
        <a:buFontTx/>
        <a:buNone/>
        <a:tabLst/>
        <a:defRPr sz="125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  <a:lvl2pPr marL="142869" indent="-142869" algn="l" defTabSz="685772" rtl="0" eaLnBrk="1" latinLnBrk="0" hangingPunct="1">
        <a:lnSpc>
          <a:spcPct val="105000"/>
        </a:lnSpc>
        <a:spcBef>
          <a:spcPts val="375"/>
        </a:spcBef>
        <a:buFont typeface="Wingdings" panose="05000000000000000000" pitchFamily="2" charset="2"/>
        <a:buChar char="§"/>
        <a:defRPr sz="125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2pPr>
      <a:lvl3pPr marL="285739" indent="-142869" algn="l" defTabSz="685772" rtl="0" eaLnBrk="1" latinLnBrk="0" hangingPunct="1">
        <a:lnSpc>
          <a:spcPct val="105000"/>
        </a:lnSpc>
        <a:spcBef>
          <a:spcPts val="375"/>
        </a:spcBef>
        <a:buSzPct val="80000"/>
        <a:buFont typeface="Arial" panose="020B0604020202020204" pitchFamily="34" charset="0"/>
        <a:buChar char="–"/>
        <a:defRPr sz="125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3pPr>
      <a:lvl4pPr marL="428608" indent="-142869" algn="l" defTabSz="685772" rtl="0" eaLnBrk="1" latinLnBrk="0" hangingPunct="1">
        <a:lnSpc>
          <a:spcPct val="105000"/>
        </a:lnSpc>
        <a:spcBef>
          <a:spcPts val="375"/>
        </a:spcBef>
        <a:buFont typeface="Arial" panose="020B0604020202020204" pitchFamily="34" charset="0"/>
        <a:buChar char="•"/>
        <a:defRPr sz="125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4pPr>
      <a:lvl5pPr marL="571478" indent="-142869" algn="l" defTabSz="685772" rtl="0" eaLnBrk="1" latinLnBrk="0" hangingPunct="1">
        <a:lnSpc>
          <a:spcPct val="105000"/>
        </a:lnSpc>
        <a:spcBef>
          <a:spcPts val="375"/>
        </a:spcBef>
        <a:buSzPct val="80000"/>
        <a:buFont typeface="Arial" panose="020B0604020202020204" pitchFamily="34" charset="0"/>
        <a:buChar char="–"/>
        <a:defRPr sz="125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5pPr>
      <a:lvl6pPr marL="1885874" indent="-171443" algn="l" defTabSz="68577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68577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68577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4" indent="-171443" algn="l" defTabSz="68577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7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2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2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1" algn="l" defTabSz="6857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5.xml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7" name="Session Title or  Presentation Name"/>
          <p:cNvSpPr txBox="1"/>
          <p:nvPr/>
        </p:nvSpPr>
        <p:spPr>
          <a:xfrm>
            <a:off x="228599" y="177800"/>
            <a:ext cx="7875741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2400">
                <a:solidFill>
                  <a:srgbClr val="FFFFFF"/>
                </a:solidFill>
                <a:latin typeface="IBM Plex Sans Light"/>
                <a:ea typeface="IBM Plex Sans Light"/>
                <a:cs typeface="IBM Plex Sans Light"/>
                <a:sym typeface="IBM Plex Sans Light"/>
              </a:defRPr>
            </a:pPr>
            <a:r>
              <a:rPr lang="en-US" sz="2400">
                <a:sym typeface="IBM Plex Sans Light"/>
              </a:rPr>
              <a:t>IBM Edge Application Manager tutorial with ML Model Updat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7122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Install Agent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0741" y="60872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1244600" y="2706535"/>
            <a:ext cx="989353" cy="788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7495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Build, Publish Service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11" name="Snip Single Corner Rectangle 10">
            <a:extLst>
              <a:ext uri="{FF2B5EF4-FFF2-40B4-BE49-F238E27FC236}">
                <a16:creationId xmlns:a16="http://schemas.microsoft.com/office/drawing/2014/main" id="{BB8AB5F1-3CE2-1A45-AC25-DA4EFF1A48BA}"/>
              </a:ext>
            </a:extLst>
          </p:cNvPr>
          <p:cNvSpPr/>
          <p:nvPr/>
        </p:nvSpPr>
        <p:spPr>
          <a:xfrm>
            <a:off x="1335605" y="3004426"/>
            <a:ext cx="560851" cy="525767"/>
          </a:xfrm>
          <a:prstGeom prst="snip1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pp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00D9DD-2C55-E042-B3E5-A02830FDE2CD}"/>
              </a:ext>
            </a:extLst>
          </p:cNvPr>
          <p:cNvCxnSpPr>
            <a:cxnSpLocks/>
            <a:stCxn id="11" idx="1"/>
            <a:endCxn id="17" idx="0"/>
          </p:cNvCxnSpPr>
          <p:nvPr/>
        </p:nvCxnSpPr>
        <p:spPr>
          <a:xfrm flipH="1">
            <a:off x="1616030" y="3530193"/>
            <a:ext cx="1" cy="799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73893DB-66EC-F348-AA15-86FA2AB301AA}"/>
              </a:ext>
            </a:extLst>
          </p:cNvPr>
          <p:cNvCxnSpPr>
            <a:stCxn id="2" idx="2"/>
            <a:endCxn id="17" idx="3"/>
          </p:cNvCxnSpPr>
          <p:nvPr/>
        </p:nvCxnSpPr>
        <p:spPr>
          <a:xfrm flipH="1">
            <a:off x="1844630" y="3451373"/>
            <a:ext cx="1389357" cy="1049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9A95EBA-EBC0-5640-928E-FE3D8843A7E5}"/>
              </a:ext>
            </a:extLst>
          </p:cNvPr>
          <p:cNvCxnSpPr>
            <a:cxnSpLocks/>
            <a:endCxn id="26" idx="2"/>
          </p:cNvCxnSpPr>
          <p:nvPr/>
        </p:nvCxnSpPr>
        <p:spPr>
          <a:xfrm flipV="1">
            <a:off x="3709523" y="2751508"/>
            <a:ext cx="2097819" cy="499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0209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Publish Policy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6" name="Elbow Connector 5">
            <a:extLst>
              <a:ext uri="{FF2B5EF4-FFF2-40B4-BE49-F238E27FC236}">
                <a16:creationId xmlns:a16="http://schemas.microsoft.com/office/drawing/2014/main" id="{DF3CA2B5-BBD9-3C45-9568-5EC6D903673D}"/>
              </a:ext>
            </a:extLst>
          </p:cNvPr>
          <p:cNvCxnSpPr>
            <a:stCxn id="2" idx="3"/>
            <a:endCxn id="16" idx="1"/>
          </p:cNvCxnSpPr>
          <p:nvPr/>
        </p:nvCxnSpPr>
        <p:spPr>
          <a:xfrm flipV="1">
            <a:off x="3709523" y="3035725"/>
            <a:ext cx="3905071" cy="24759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  <a:stCxn id="16" idx="2"/>
          </p:cNvCxnSpPr>
          <p:nvPr/>
        </p:nvCxnSpPr>
        <p:spPr>
          <a:xfrm flipH="1">
            <a:off x="6896100" y="2751508"/>
            <a:ext cx="1513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75705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Register Device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6" name="Elbow Connector 5">
            <a:extLst>
              <a:ext uri="{FF2B5EF4-FFF2-40B4-BE49-F238E27FC236}">
                <a16:creationId xmlns:a16="http://schemas.microsoft.com/office/drawing/2014/main" id="{DF3CA2B5-BBD9-3C45-9568-5EC6D903673D}"/>
              </a:ext>
            </a:extLst>
          </p:cNvPr>
          <p:cNvCxnSpPr>
            <a:cxnSpLocks/>
            <a:stCxn id="2" idx="3"/>
            <a:endCxn id="5" idx="1"/>
          </p:cNvCxnSpPr>
          <p:nvPr/>
        </p:nvCxnSpPr>
        <p:spPr>
          <a:xfrm flipV="1">
            <a:off x="3709523" y="3077582"/>
            <a:ext cx="1499724" cy="205742"/>
          </a:xfrm>
          <a:prstGeom prst="bentConnector3">
            <a:avLst>
              <a:gd name="adj1" fmla="val 6439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7EC1679-8EFE-4A4D-B39A-8C8E87305F11}"/>
              </a:ext>
            </a:extLst>
          </p:cNvPr>
          <p:cNvSpPr txBox="1"/>
          <p:nvPr/>
        </p:nvSpPr>
        <p:spPr>
          <a:xfrm>
            <a:off x="4432300" y="2755627"/>
            <a:ext cx="72039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gister</a:t>
            </a:r>
          </a:p>
        </p:txBody>
      </p:sp>
      <p:sp>
        <p:nvSpPr>
          <p:cNvPr id="20" name="Rectangle: Single Corner Snipped 90">
            <a:extLst>
              <a:ext uri="{FF2B5EF4-FFF2-40B4-BE49-F238E27FC236}">
                <a16:creationId xmlns:a16="http://schemas.microsoft.com/office/drawing/2014/main" id="{3ED1C79D-B778-3F43-B194-16547D3F62FF}"/>
              </a:ext>
            </a:extLst>
          </p:cNvPr>
          <p:cNvSpPr/>
          <p:nvPr/>
        </p:nvSpPr>
        <p:spPr>
          <a:xfrm>
            <a:off x="1231900" y="2226962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DEFC301-F490-4842-9899-243ED90A6DC1}"/>
              </a:ext>
            </a:extLst>
          </p:cNvPr>
          <p:cNvCxnSpPr>
            <a:stCxn id="20" idx="0"/>
            <a:endCxn id="2" idx="1"/>
          </p:cNvCxnSpPr>
          <p:nvPr/>
        </p:nvCxnSpPr>
        <p:spPr>
          <a:xfrm>
            <a:off x="2361237" y="2844481"/>
            <a:ext cx="397213" cy="4388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2024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Service (App) gets deployed to device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Single Corner Snipped 90">
            <a:extLst>
              <a:ext uri="{FF2B5EF4-FFF2-40B4-BE49-F238E27FC236}">
                <a16:creationId xmlns:a16="http://schemas.microsoft.com/office/drawing/2014/main" id="{3ED1C79D-B778-3F43-B194-16547D3F62FF}"/>
              </a:ext>
            </a:extLst>
          </p:cNvPr>
          <p:cNvSpPr/>
          <p:nvPr/>
        </p:nvSpPr>
        <p:spPr>
          <a:xfrm>
            <a:off x="1231900" y="2226962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1565E6-D457-F546-BC19-A16D2A4FC283}"/>
              </a:ext>
            </a:extLst>
          </p:cNvPr>
          <p:cNvSpPr/>
          <p:nvPr/>
        </p:nvSpPr>
        <p:spPr>
          <a:xfrm>
            <a:off x="2711281" y="2467291"/>
            <a:ext cx="1238250" cy="5402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App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DD01360-8EC6-9F44-9F71-FC57EEDACBAC}"/>
              </a:ext>
            </a:extLst>
          </p:cNvPr>
          <p:cNvCxnSpPr>
            <a:stCxn id="26" idx="2"/>
            <a:endCxn id="3" idx="3"/>
          </p:cNvCxnSpPr>
          <p:nvPr/>
        </p:nvCxnSpPr>
        <p:spPr>
          <a:xfrm flipH="1" flipV="1">
            <a:off x="3949531" y="2737413"/>
            <a:ext cx="1857811" cy="14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F9D4A73-2A2C-D842-AB30-C807BF81CD3E}"/>
              </a:ext>
            </a:extLst>
          </p:cNvPr>
          <p:cNvSpPr txBox="1"/>
          <p:nvPr/>
        </p:nvSpPr>
        <p:spPr>
          <a:xfrm>
            <a:off x="4572000" y="2467291"/>
            <a:ext cx="66300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ploy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03E5A8-BFC0-204E-9E3E-26D397795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3986" y="2627802"/>
            <a:ext cx="4572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6414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5. Validate App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Single Corner Snipped 90">
            <a:extLst>
              <a:ext uri="{FF2B5EF4-FFF2-40B4-BE49-F238E27FC236}">
                <a16:creationId xmlns:a16="http://schemas.microsoft.com/office/drawing/2014/main" id="{3ED1C79D-B778-3F43-B194-16547D3F62FF}"/>
              </a:ext>
            </a:extLst>
          </p:cNvPr>
          <p:cNvSpPr/>
          <p:nvPr/>
        </p:nvSpPr>
        <p:spPr>
          <a:xfrm>
            <a:off x="1231900" y="2226962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1565E6-D457-F546-BC19-A16D2A4FC283}"/>
              </a:ext>
            </a:extLst>
          </p:cNvPr>
          <p:cNvSpPr/>
          <p:nvPr/>
        </p:nvSpPr>
        <p:spPr>
          <a:xfrm>
            <a:off x="2711281" y="2467291"/>
            <a:ext cx="1238250" cy="5402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App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03E5A8-BFC0-204E-9E3E-26D397795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3986" y="2627802"/>
            <a:ext cx="457200" cy="342900"/>
          </a:xfrm>
          <a:prstGeom prst="rect">
            <a:avLst/>
          </a:prstGeom>
        </p:spPr>
      </p:pic>
      <p:pic>
        <p:nvPicPr>
          <p:cNvPr id="15362" name="Picture 2" descr="Monitor Icon - Free Download at Icons8">
            <a:extLst>
              <a:ext uri="{FF2B5EF4-FFF2-40B4-BE49-F238E27FC236}">
                <a16:creationId xmlns:a16="http://schemas.microsoft.com/office/drawing/2014/main" id="{BEFB3099-A9EB-6441-86BE-80D83DBA1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6116" y="3833137"/>
            <a:ext cx="1336408" cy="133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Up Arrow 5">
            <a:extLst>
              <a:ext uri="{FF2B5EF4-FFF2-40B4-BE49-F238E27FC236}">
                <a16:creationId xmlns:a16="http://schemas.microsoft.com/office/drawing/2014/main" id="{27D515A4-C439-E049-8E3F-972AB5DA16B2}"/>
              </a:ext>
            </a:extLst>
          </p:cNvPr>
          <p:cNvSpPr/>
          <p:nvPr/>
        </p:nvSpPr>
        <p:spPr>
          <a:xfrm>
            <a:off x="3768751" y="3020323"/>
            <a:ext cx="151975" cy="1007726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5113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6. Update Model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Single Corner Snipped 90">
            <a:extLst>
              <a:ext uri="{FF2B5EF4-FFF2-40B4-BE49-F238E27FC236}">
                <a16:creationId xmlns:a16="http://schemas.microsoft.com/office/drawing/2014/main" id="{3ED1C79D-B778-3F43-B194-16547D3F62FF}"/>
              </a:ext>
            </a:extLst>
          </p:cNvPr>
          <p:cNvSpPr/>
          <p:nvPr/>
        </p:nvSpPr>
        <p:spPr>
          <a:xfrm>
            <a:off x="1231900" y="2226962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1565E6-D457-F546-BC19-A16D2A4FC283}"/>
              </a:ext>
            </a:extLst>
          </p:cNvPr>
          <p:cNvSpPr/>
          <p:nvPr/>
        </p:nvSpPr>
        <p:spPr>
          <a:xfrm>
            <a:off x="2711281" y="2467291"/>
            <a:ext cx="1238250" cy="5402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App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03E5A8-BFC0-204E-9E3E-26D397795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3986" y="2627802"/>
            <a:ext cx="457200" cy="342900"/>
          </a:xfrm>
          <a:prstGeom prst="rect">
            <a:avLst/>
          </a:prstGeom>
        </p:spPr>
      </p:pic>
      <p:sp>
        <p:nvSpPr>
          <p:cNvPr id="7" name="Snip Single Corner Rectangle 6">
            <a:extLst>
              <a:ext uri="{FF2B5EF4-FFF2-40B4-BE49-F238E27FC236}">
                <a16:creationId xmlns:a16="http://schemas.microsoft.com/office/drawing/2014/main" id="{CB8DEC19-CF69-6744-BC42-1273D5E437FB}"/>
              </a:ext>
            </a:extLst>
          </p:cNvPr>
          <p:cNvSpPr/>
          <p:nvPr/>
        </p:nvSpPr>
        <p:spPr>
          <a:xfrm>
            <a:off x="5807342" y="3433503"/>
            <a:ext cx="1088758" cy="509543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del2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5F34D6E-35B6-D442-BF2B-6B5EAC26B2F1}"/>
              </a:ext>
            </a:extLst>
          </p:cNvPr>
          <p:cNvCxnSpPr/>
          <p:nvPr/>
        </p:nvCxnSpPr>
        <p:spPr>
          <a:xfrm>
            <a:off x="3709523" y="3283323"/>
            <a:ext cx="2097819" cy="4233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436A23E-7C28-214C-9DB4-E26BF07D2007}"/>
              </a:ext>
            </a:extLst>
          </p:cNvPr>
          <p:cNvSpPr txBox="1"/>
          <p:nvPr/>
        </p:nvSpPr>
        <p:spPr>
          <a:xfrm>
            <a:off x="4472761" y="3524773"/>
            <a:ext cx="69602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ublish</a:t>
            </a:r>
          </a:p>
        </p:txBody>
      </p:sp>
    </p:spTree>
    <p:extLst>
      <p:ext uri="{BB962C8B-B14F-4D97-AF65-F5344CB8AC3E}">
        <p14:creationId xmlns:p14="http://schemas.microsoft.com/office/powerpoint/2010/main" val="38622163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i="1" dirty="0"/>
              <a:t>Application sees new model and pulls it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Single Corner Snipped 90">
            <a:extLst>
              <a:ext uri="{FF2B5EF4-FFF2-40B4-BE49-F238E27FC236}">
                <a16:creationId xmlns:a16="http://schemas.microsoft.com/office/drawing/2014/main" id="{3ED1C79D-B778-3F43-B194-16547D3F62FF}"/>
              </a:ext>
            </a:extLst>
          </p:cNvPr>
          <p:cNvSpPr/>
          <p:nvPr/>
        </p:nvSpPr>
        <p:spPr>
          <a:xfrm>
            <a:off x="1231900" y="2226962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1565E6-D457-F546-BC19-A16D2A4FC283}"/>
              </a:ext>
            </a:extLst>
          </p:cNvPr>
          <p:cNvSpPr/>
          <p:nvPr/>
        </p:nvSpPr>
        <p:spPr>
          <a:xfrm>
            <a:off x="2711281" y="2467291"/>
            <a:ext cx="1238250" cy="5402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App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03E5A8-BFC0-204E-9E3E-26D397795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3986" y="2627802"/>
            <a:ext cx="457200" cy="342900"/>
          </a:xfrm>
          <a:prstGeom prst="rect">
            <a:avLst/>
          </a:prstGeom>
        </p:spPr>
      </p:pic>
      <p:sp>
        <p:nvSpPr>
          <p:cNvPr id="6" name="Left Arrow 5">
            <a:extLst>
              <a:ext uri="{FF2B5EF4-FFF2-40B4-BE49-F238E27FC236}">
                <a16:creationId xmlns:a16="http://schemas.microsoft.com/office/drawing/2014/main" id="{5E9A4E33-4318-CC41-8983-59C0F0A1BD16}"/>
              </a:ext>
            </a:extLst>
          </p:cNvPr>
          <p:cNvSpPr/>
          <p:nvPr/>
        </p:nvSpPr>
        <p:spPr>
          <a:xfrm rot="1285238">
            <a:off x="3674367" y="3127844"/>
            <a:ext cx="2238642" cy="8890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nip Single Corner Rectangle 6">
            <a:extLst>
              <a:ext uri="{FF2B5EF4-FFF2-40B4-BE49-F238E27FC236}">
                <a16:creationId xmlns:a16="http://schemas.microsoft.com/office/drawing/2014/main" id="{CB8DEC19-CF69-6744-BC42-1273D5E437FB}"/>
              </a:ext>
            </a:extLst>
          </p:cNvPr>
          <p:cNvSpPr/>
          <p:nvPr/>
        </p:nvSpPr>
        <p:spPr>
          <a:xfrm>
            <a:off x="5807342" y="3433503"/>
            <a:ext cx="1088758" cy="509543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del2</a:t>
            </a:r>
          </a:p>
        </p:txBody>
      </p:sp>
    </p:spTree>
    <p:extLst>
      <p:ext uri="{BB962C8B-B14F-4D97-AF65-F5344CB8AC3E}">
        <p14:creationId xmlns:p14="http://schemas.microsoft.com/office/powerpoint/2010/main" val="11055089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A0687EE-BF20-D54E-8228-18C9310CDDFB}"/>
              </a:ext>
            </a:extLst>
          </p:cNvPr>
          <p:cNvSpPr/>
          <p:nvPr/>
        </p:nvSpPr>
        <p:spPr>
          <a:xfrm>
            <a:off x="254000" y="3943046"/>
            <a:ext cx="1955800" cy="107380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Docker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E9AFDE-8FB1-8448-97B6-56C7891C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5. Verify updated model</a:t>
            </a:r>
          </a:p>
        </p:txBody>
      </p:sp>
      <p:sp>
        <p:nvSpPr>
          <p:cNvPr id="5" name="Rectangle: Rounded Corners 78">
            <a:extLst>
              <a:ext uri="{FF2B5EF4-FFF2-40B4-BE49-F238E27FC236}">
                <a16:creationId xmlns:a16="http://schemas.microsoft.com/office/drawing/2014/main" id="{F771D8F6-2CBE-714F-ADF6-6412BDE01C06}"/>
              </a:ext>
            </a:extLst>
          </p:cNvPr>
          <p:cNvSpPr/>
          <p:nvPr/>
        </p:nvSpPr>
        <p:spPr>
          <a:xfrm>
            <a:off x="5209247" y="1268016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8" name="Rectangle: Rounded Corners 88">
            <a:extLst>
              <a:ext uri="{FF2B5EF4-FFF2-40B4-BE49-F238E27FC236}">
                <a16:creationId xmlns:a16="http://schemas.microsoft.com/office/drawing/2014/main" id="{B290D232-F4C4-A644-8D2D-298D2B906BDC}"/>
              </a:ext>
            </a:extLst>
          </p:cNvPr>
          <p:cNvSpPr/>
          <p:nvPr/>
        </p:nvSpPr>
        <p:spPr>
          <a:xfrm>
            <a:off x="914400" y="1557160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7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" name="Rectangle: Rounded Corners 89">
            <a:extLst>
              <a:ext uri="{FF2B5EF4-FFF2-40B4-BE49-F238E27FC236}">
                <a16:creationId xmlns:a16="http://schemas.microsoft.com/office/drawing/2014/main" id="{FA570E6F-52ED-D84D-8C61-64574251F445}"/>
              </a:ext>
            </a:extLst>
          </p:cNvPr>
          <p:cNvSpPr/>
          <p:nvPr/>
        </p:nvSpPr>
        <p:spPr>
          <a:xfrm>
            <a:off x="2695233" y="1710138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8BB9B137-9D11-B04E-AFC7-0BF03B847945}"/>
              </a:ext>
            </a:extLst>
          </p:cNvPr>
          <p:cNvSpPr/>
          <p:nvPr/>
        </p:nvSpPr>
        <p:spPr>
          <a:xfrm>
            <a:off x="4012864" y="1905050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10363B-95BD-264D-BCC1-6DADDA798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430" y="4329891"/>
            <a:ext cx="457200" cy="342900"/>
          </a:xfrm>
          <a:prstGeom prst="rect">
            <a:avLst/>
          </a:prstGeom>
        </p:spPr>
      </p:pic>
      <p:pic>
        <p:nvPicPr>
          <p:cNvPr id="18" name="Picture 2" descr="Empowering App Development for Developers | Docker">
            <a:extLst>
              <a:ext uri="{FF2B5EF4-FFF2-40B4-BE49-F238E27FC236}">
                <a16:creationId xmlns:a16="http://schemas.microsoft.com/office/drawing/2014/main" id="{29DE907E-55ED-E440-834A-B985341DB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5" r="11607" b="35540"/>
          <a:stretch/>
        </p:blipFill>
        <p:spPr bwMode="auto">
          <a:xfrm>
            <a:off x="385371" y="4169839"/>
            <a:ext cx="831443" cy="66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F07239-6E00-DB4C-AB81-28542F571979}"/>
              </a:ext>
            </a:extLst>
          </p:cNvPr>
          <p:cNvSpPr/>
          <p:nvPr/>
        </p:nvSpPr>
        <p:spPr>
          <a:xfrm>
            <a:off x="2758450" y="3115274"/>
            <a:ext cx="951073" cy="336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hzn</a:t>
            </a:r>
            <a:endParaRPr lang="en-US" dirty="0"/>
          </a:p>
        </p:txBody>
      </p:sp>
      <p:sp>
        <p:nvSpPr>
          <p:cNvPr id="26" name="Rectangle: Single Corner Snipped 64">
            <a:extLst>
              <a:ext uri="{FF2B5EF4-FFF2-40B4-BE49-F238E27FC236}">
                <a16:creationId xmlns:a16="http://schemas.microsoft.com/office/drawing/2014/main" id="{B470CEA9-A07E-6E4A-8CE5-28169BBDCEE1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6" name="Rectangle: Single Corner Snipped 25">
            <a:extLst>
              <a:ext uri="{FF2B5EF4-FFF2-40B4-BE49-F238E27FC236}">
                <a16:creationId xmlns:a16="http://schemas.microsoft.com/office/drawing/2014/main" id="{BAC1E43F-A523-C64F-A730-54B0118C68BC}"/>
              </a:ext>
            </a:extLst>
          </p:cNvPr>
          <p:cNvSpPr/>
          <p:nvPr/>
        </p:nvSpPr>
        <p:spPr>
          <a:xfrm>
            <a:off x="704746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FE7756-4C7B-FA4D-A359-C7B2EBF7B417}"/>
              </a:ext>
            </a:extLst>
          </p:cNvPr>
          <p:cNvCxnSpPr>
            <a:cxnSpLocks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Single Corner Snipped 90">
            <a:extLst>
              <a:ext uri="{FF2B5EF4-FFF2-40B4-BE49-F238E27FC236}">
                <a16:creationId xmlns:a16="http://schemas.microsoft.com/office/drawing/2014/main" id="{3ED1C79D-B778-3F43-B194-16547D3F62FF}"/>
              </a:ext>
            </a:extLst>
          </p:cNvPr>
          <p:cNvSpPr/>
          <p:nvPr/>
        </p:nvSpPr>
        <p:spPr>
          <a:xfrm>
            <a:off x="1231900" y="2226962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1565E6-D457-F546-BC19-A16D2A4FC283}"/>
              </a:ext>
            </a:extLst>
          </p:cNvPr>
          <p:cNvSpPr/>
          <p:nvPr/>
        </p:nvSpPr>
        <p:spPr>
          <a:xfrm>
            <a:off x="2711281" y="2467291"/>
            <a:ext cx="1238250" cy="5402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</a:rPr>
              <a:t>App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103E5A8-BFC0-204E-9E3E-26D397795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3986" y="2627802"/>
            <a:ext cx="457200" cy="342900"/>
          </a:xfrm>
          <a:prstGeom prst="rect">
            <a:avLst/>
          </a:prstGeom>
        </p:spPr>
      </p:pic>
      <p:pic>
        <p:nvPicPr>
          <p:cNvPr id="15362" name="Picture 2" descr="Monitor Icon - Free Download at Icons8">
            <a:extLst>
              <a:ext uri="{FF2B5EF4-FFF2-40B4-BE49-F238E27FC236}">
                <a16:creationId xmlns:a16="http://schemas.microsoft.com/office/drawing/2014/main" id="{BEFB3099-A9EB-6441-86BE-80D83DBA1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6116" y="3833137"/>
            <a:ext cx="1336408" cy="133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Up Arrow 5">
            <a:extLst>
              <a:ext uri="{FF2B5EF4-FFF2-40B4-BE49-F238E27FC236}">
                <a16:creationId xmlns:a16="http://schemas.microsoft.com/office/drawing/2014/main" id="{27D515A4-C439-E049-8E3F-972AB5DA16B2}"/>
              </a:ext>
            </a:extLst>
          </p:cNvPr>
          <p:cNvSpPr/>
          <p:nvPr/>
        </p:nvSpPr>
        <p:spPr>
          <a:xfrm>
            <a:off x="3768751" y="3020323"/>
            <a:ext cx="151975" cy="1007726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nip Single Corner Rectangle 21">
            <a:extLst>
              <a:ext uri="{FF2B5EF4-FFF2-40B4-BE49-F238E27FC236}">
                <a16:creationId xmlns:a16="http://schemas.microsoft.com/office/drawing/2014/main" id="{1019186E-2A2C-A044-B513-130DE6AFCD3E}"/>
              </a:ext>
            </a:extLst>
          </p:cNvPr>
          <p:cNvSpPr/>
          <p:nvPr/>
        </p:nvSpPr>
        <p:spPr>
          <a:xfrm>
            <a:off x="5807342" y="3433503"/>
            <a:ext cx="1088758" cy="509543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del2</a:t>
            </a:r>
          </a:p>
        </p:txBody>
      </p:sp>
    </p:spTree>
    <p:extLst>
      <p:ext uri="{BB962C8B-B14F-4D97-AF65-F5344CB8AC3E}">
        <p14:creationId xmlns:p14="http://schemas.microsoft.com/office/powerpoint/2010/main" val="71351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2AC6EA9-E91B-954E-ABFE-CA0697093227}"/>
              </a:ext>
            </a:extLst>
          </p:cNvPr>
          <p:cNvSpPr/>
          <p:nvPr/>
        </p:nvSpPr>
        <p:spPr>
          <a:xfrm>
            <a:off x="279400" y="126742"/>
            <a:ext cx="87122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Edge device </a:t>
            </a:r>
            <a:r>
              <a:rPr lang="en-US" sz="1600" dirty="0" err="1"/>
              <a:t>userid</a:t>
            </a:r>
            <a:r>
              <a:rPr lang="en-US" sz="1600" dirty="0"/>
              <a:t>/password: </a:t>
            </a:r>
          </a:p>
          <a:p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  green/green</a:t>
            </a:r>
          </a:p>
          <a:p>
            <a:endParaRPr lang="en-US" sz="1600" dirty="0"/>
          </a:p>
          <a:p>
            <a:r>
              <a:rPr lang="en-US" sz="1600" dirty="0"/>
              <a:t>Edge device hostname and </a:t>
            </a:r>
            <a:r>
              <a:rPr lang="en-US" sz="1600" dirty="0" err="1"/>
              <a:t>ssh</a:t>
            </a:r>
            <a:r>
              <a:rPr lang="en-US" sz="1600" dirty="0"/>
              <a:t> port: </a:t>
            </a:r>
          </a:p>
          <a:p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     </a:t>
            </a:r>
            <a:r>
              <a:rPr lang="en-US" sz="1600" b="1" dirty="0" err="1">
                <a:solidFill>
                  <a:schemeClr val="accent6">
                    <a:lumMod val="75000"/>
                  </a:schemeClr>
                </a:solidFill>
              </a:rPr>
              <a:t>ssh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 green @</a:t>
            </a:r>
            <a:r>
              <a:rPr lang="en-US" sz="1600" b="1" dirty="0" err="1">
                <a:solidFill>
                  <a:schemeClr val="accent6">
                    <a:lumMod val="75000"/>
                  </a:schemeClr>
                </a:solidFill>
              </a:rPr>
              <a:t>orange.coc-ibm.com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 -p 2501</a:t>
            </a:r>
          </a:p>
          <a:p>
            <a:r>
              <a:rPr lang="en-US" sz="1600" dirty="0"/>
              <a:t>  or you can use this web terminal </a:t>
            </a:r>
          </a:p>
          <a:p>
            <a:r>
              <a:rPr lang="en-US" sz="1600" b="1" dirty="0"/>
              <a:t>     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http://orange.coc-ibm.com:2322/</a:t>
            </a:r>
            <a:r>
              <a:rPr lang="en-US" sz="1600" b="1" dirty="0" err="1">
                <a:solidFill>
                  <a:schemeClr val="accent6">
                    <a:lumMod val="75000"/>
                  </a:schemeClr>
                </a:solidFill>
              </a:rPr>
              <a:t>ssh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/host/</a:t>
            </a:r>
            <a:r>
              <a:rPr lang="en-US" sz="1600" b="1" dirty="0" err="1">
                <a:solidFill>
                  <a:schemeClr val="accent6">
                    <a:lumMod val="75000"/>
                  </a:schemeClr>
                </a:solidFill>
              </a:rPr>
              <a:t>orange.coc-ibm.com?port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=2501&amp;header=green</a:t>
            </a:r>
          </a:p>
          <a:p>
            <a:endParaRPr lang="en-US" sz="1600" dirty="0"/>
          </a:p>
          <a:p>
            <a:r>
              <a:rPr lang="en-US" sz="1600" dirty="0"/>
              <a:t>IEAM console </a:t>
            </a:r>
            <a:r>
              <a:rPr lang="en-US" sz="1600" dirty="0" err="1"/>
              <a:t>userid</a:t>
            </a:r>
            <a:r>
              <a:rPr lang="en-US" sz="1600" dirty="0"/>
              <a:t>/password: </a:t>
            </a:r>
          </a:p>
          <a:p>
            <a:r>
              <a:rPr lang="en-US" sz="1600" b="1" dirty="0"/>
              <a:t> 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green / green</a:t>
            </a:r>
          </a:p>
          <a:p>
            <a:endParaRPr lang="en-US" sz="1600" dirty="0"/>
          </a:p>
          <a:p>
            <a:r>
              <a:rPr lang="en-US" sz="1600" dirty="0"/>
              <a:t>IBM Console URL:</a:t>
            </a:r>
          </a:p>
          <a:p>
            <a:r>
              <a:rPr lang="en-US" sz="1600" b="1" dirty="0"/>
              <a:t>  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https://icp-console.apps.bb8.coc-ibm.com/edge</a:t>
            </a:r>
          </a:p>
          <a:p>
            <a:endParaRPr lang="en-US" sz="1600" dirty="0"/>
          </a:p>
          <a:p>
            <a:r>
              <a:rPr lang="en-US" sz="1600" dirty="0" err="1"/>
              <a:t>Cloudctl</a:t>
            </a:r>
            <a:r>
              <a:rPr lang="en-US" sz="1600" dirty="0"/>
              <a:t> API URL:</a:t>
            </a:r>
          </a:p>
          <a:p>
            <a:r>
              <a:rPr lang="en-US" sz="1600" dirty="0"/>
              <a:t>  </a:t>
            </a: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https://icp-console.apps.bb8.coc-ibm.com</a:t>
            </a:r>
          </a:p>
          <a:p>
            <a:endParaRPr lang="en-US" sz="1600" dirty="0"/>
          </a:p>
          <a:p>
            <a:r>
              <a:rPr lang="en-US" sz="1600" dirty="0"/>
              <a:t>Your Docker Hub ID (you can create a temporary one if you like at https://</a:t>
            </a:r>
            <a:r>
              <a:rPr lang="en-US" sz="1600" dirty="0" err="1"/>
              <a:t>hub.docker.com</a:t>
            </a:r>
            <a:r>
              <a:rPr lang="en-US" sz="1600" dirty="0"/>
              <a:t>/signup)</a:t>
            </a:r>
          </a:p>
        </p:txBody>
      </p:sp>
    </p:spTree>
    <p:extLst>
      <p:ext uri="{BB962C8B-B14F-4D97-AF65-F5344CB8AC3E}">
        <p14:creationId xmlns:p14="http://schemas.microsoft.com/office/powerpoint/2010/main" val="4151124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00F49F59-43CC-48B3-91DD-23694861CCA1}"/>
              </a:ext>
            </a:extLst>
          </p:cNvPr>
          <p:cNvSpPr/>
          <p:nvPr/>
        </p:nvSpPr>
        <p:spPr>
          <a:xfrm>
            <a:off x="391885" y="687493"/>
            <a:ext cx="8180615" cy="1797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FD8E96-C3FD-44DE-A77C-B8021F400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285" y="185822"/>
            <a:ext cx="7886700" cy="444393"/>
          </a:xfrm>
        </p:spPr>
        <p:txBody>
          <a:bodyPr>
            <a:normAutofit fontScale="90000"/>
          </a:bodyPr>
          <a:lstStyle/>
          <a:p>
            <a:r>
              <a:rPr lang="en-US" dirty="0"/>
              <a:t>Technical Architecture Overview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7FD4D0D-C5E5-4B53-B7B8-F8711CEB6D8E}"/>
              </a:ext>
            </a:extLst>
          </p:cNvPr>
          <p:cNvSpPr/>
          <p:nvPr/>
        </p:nvSpPr>
        <p:spPr>
          <a:xfrm>
            <a:off x="2191212" y="1414541"/>
            <a:ext cx="1241854" cy="4772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Exchan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E5130C-28DC-45BF-BB76-177A9B0E4D1D}"/>
              </a:ext>
            </a:extLst>
          </p:cNvPr>
          <p:cNvSpPr/>
          <p:nvPr/>
        </p:nvSpPr>
        <p:spPr>
          <a:xfrm>
            <a:off x="2208487" y="1896454"/>
            <a:ext cx="1204784" cy="143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Calibri" panose="020F0502020204030204"/>
              </a:rPr>
              <a:t>API</a:t>
            </a:r>
          </a:p>
        </p:txBody>
      </p:sp>
      <p:sp>
        <p:nvSpPr>
          <p:cNvPr id="6" name="Cylinder 5">
            <a:extLst>
              <a:ext uri="{FF2B5EF4-FFF2-40B4-BE49-F238E27FC236}">
                <a16:creationId xmlns:a16="http://schemas.microsoft.com/office/drawing/2014/main" id="{8FA1C707-8111-4870-909A-D1922431DF21}"/>
              </a:ext>
            </a:extLst>
          </p:cNvPr>
          <p:cNvSpPr/>
          <p:nvPr/>
        </p:nvSpPr>
        <p:spPr>
          <a:xfrm>
            <a:off x="2367859" y="832990"/>
            <a:ext cx="895865" cy="382287"/>
          </a:xfrm>
          <a:prstGeom prst="can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/>
              </a:rPr>
              <a:t>Postgres</a:t>
            </a: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276EABD-037A-404F-83C5-696C63C2FB38}"/>
              </a:ext>
            </a:extLst>
          </p:cNvPr>
          <p:cNvCxnSpPr>
            <a:cxnSpLocks/>
            <a:stCxn id="4" idx="0"/>
            <a:endCxn id="6" idx="3"/>
          </p:cNvCxnSpPr>
          <p:nvPr/>
        </p:nvCxnSpPr>
        <p:spPr>
          <a:xfrm flipV="1">
            <a:off x="2812139" y="1215277"/>
            <a:ext cx="3653" cy="199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283DBF0-5E4F-43F0-9C7F-737FB145BF7F}"/>
              </a:ext>
            </a:extLst>
          </p:cNvPr>
          <p:cNvSpPr/>
          <p:nvPr/>
        </p:nvSpPr>
        <p:spPr>
          <a:xfrm>
            <a:off x="3666769" y="1425684"/>
            <a:ext cx="1241854" cy="4772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C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89B946-4562-4065-BCA8-856A730FAE57}"/>
              </a:ext>
            </a:extLst>
          </p:cNvPr>
          <p:cNvSpPr/>
          <p:nvPr/>
        </p:nvSpPr>
        <p:spPr>
          <a:xfrm>
            <a:off x="3685303" y="1910278"/>
            <a:ext cx="1204784" cy="143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Calibri" panose="020F0502020204030204"/>
              </a:rPr>
              <a:t>API</a:t>
            </a: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C972B785-B385-48B7-A527-B7D071E0783E}"/>
              </a:ext>
            </a:extLst>
          </p:cNvPr>
          <p:cNvSpPr/>
          <p:nvPr/>
        </p:nvSpPr>
        <p:spPr>
          <a:xfrm>
            <a:off x="3839763" y="835245"/>
            <a:ext cx="895865" cy="375335"/>
          </a:xfrm>
          <a:prstGeom prst="can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/>
              </a:rPr>
              <a:t>Mongo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539E3EB-3015-4DAC-B239-18E1E6C925A0}"/>
              </a:ext>
            </a:extLst>
          </p:cNvPr>
          <p:cNvCxnSpPr>
            <a:stCxn id="9" idx="0"/>
            <a:endCxn id="11" idx="3"/>
          </p:cNvCxnSpPr>
          <p:nvPr/>
        </p:nvCxnSpPr>
        <p:spPr>
          <a:xfrm flipH="1" flipV="1">
            <a:off x="4287696" y="1210580"/>
            <a:ext cx="1" cy="2151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ED9D83-24FB-414F-9A1E-860F554CA592}"/>
              </a:ext>
            </a:extLst>
          </p:cNvPr>
          <p:cNvSpPr/>
          <p:nvPr/>
        </p:nvSpPr>
        <p:spPr>
          <a:xfrm>
            <a:off x="5147850" y="1422572"/>
            <a:ext cx="1241854" cy="4772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prstClr val="white"/>
                </a:solidFill>
                <a:latin typeface="Calibri" panose="020F0502020204030204"/>
              </a:rPr>
              <a:t>Agbot</a:t>
            </a: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Cylinder 17">
            <a:extLst>
              <a:ext uri="{FF2B5EF4-FFF2-40B4-BE49-F238E27FC236}">
                <a16:creationId xmlns:a16="http://schemas.microsoft.com/office/drawing/2014/main" id="{A6B834CD-56DA-4813-8314-452EFB69E79C}"/>
              </a:ext>
            </a:extLst>
          </p:cNvPr>
          <p:cNvSpPr/>
          <p:nvPr/>
        </p:nvSpPr>
        <p:spPr>
          <a:xfrm>
            <a:off x="5311666" y="829450"/>
            <a:ext cx="895865" cy="375335"/>
          </a:xfrm>
          <a:prstGeom prst="can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/>
              </a:rPr>
              <a:t>Postgre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11AD80C-F9C3-4618-BA0A-79921A968174}"/>
              </a:ext>
            </a:extLst>
          </p:cNvPr>
          <p:cNvCxnSpPr>
            <a:stCxn id="16" idx="0"/>
            <a:endCxn id="18" idx="3"/>
          </p:cNvCxnSpPr>
          <p:nvPr/>
        </p:nvCxnSpPr>
        <p:spPr>
          <a:xfrm flipH="1" flipV="1">
            <a:off x="5759599" y="1204785"/>
            <a:ext cx="9179" cy="2177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2CDFFE6-E5A8-443C-B314-11CF6E47A2BC}"/>
              </a:ext>
            </a:extLst>
          </p:cNvPr>
          <p:cNvCxnSpPr>
            <a:stCxn id="16" idx="2"/>
            <a:endCxn id="5" idx="2"/>
          </p:cNvCxnSpPr>
          <p:nvPr/>
        </p:nvCxnSpPr>
        <p:spPr>
          <a:xfrm rot="5400000">
            <a:off x="4219704" y="491028"/>
            <a:ext cx="140251" cy="2957899"/>
          </a:xfrm>
          <a:prstGeom prst="bentConnector3">
            <a:avLst>
              <a:gd name="adj1" fmla="val 2089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BEF02EB-3D03-4108-9F16-44F27479D1CE}"/>
              </a:ext>
            </a:extLst>
          </p:cNvPr>
          <p:cNvCxnSpPr>
            <a:cxnSpLocks/>
          </p:cNvCxnSpPr>
          <p:nvPr/>
        </p:nvCxnSpPr>
        <p:spPr>
          <a:xfrm rot="5400000">
            <a:off x="4951198" y="1232169"/>
            <a:ext cx="154075" cy="1481082"/>
          </a:xfrm>
          <a:prstGeom prst="bentConnector3">
            <a:avLst>
              <a:gd name="adj1" fmla="val 14768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D356790A-2BD6-49B3-9694-CC3A702D7E58}"/>
              </a:ext>
            </a:extLst>
          </p:cNvPr>
          <p:cNvSpPr/>
          <p:nvPr/>
        </p:nvSpPr>
        <p:spPr>
          <a:xfrm>
            <a:off x="3660688" y="3146340"/>
            <a:ext cx="3382663" cy="15291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A133DD-3356-4EC8-86CD-6626F49CFBD9}"/>
              </a:ext>
            </a:extLst>
          </p:cNvPr>
          <p:cNvSpPr txBox="1"/>
          <p:nvPr/>
        </p:nvSpPr>
        <p:spPr>
          <a:xfrm>
            <a:off x="4500664" y="4341211"/>
            <a:ext cx="129437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Node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2C4477A0-2CDC-4453-BDA2-95ADBDF12CD1}"/>
              </a:ext>
            </a:extLst>
          </p:cNvPr>
          <p:cNvSpPr/>
          <p:nvPr/>
        </p:nvSpPr>
        <p:spPr>
          <a:xfrm>
            <a:off x="3853965" y="3222797"/>
            <a:ext cx="1790188" cy="1061136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A7E5EBD-4167-47AE-92FC-1BD08B684D48}"/>
              </a:ext>
            </a:extLst>
          </p:cNvPr>
          <p:cNvSpPr/>
          <p:nvPr/>
        </p:nvSpPr>
        <p:spPr>
          <a:xfrm>
            <a:off x="4344948" y="3336325"/>
            <a:ext cx="1241854" cy="4772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/>
              </a:rPr>
              <a:t>ES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3F2EFF5-1D4A-4236-9DA4-4E9743B15BC1}"/>
              </a:ext>
            </a:extLst>
          </p:cNvPr>
          <p:cNvSpPr txBox="1"/>
          <p:nvPr/>
        </p:nvSpPr>
        <p:spPr>
          <a:xfrm>
            <a:off x="4057646" y="4006933"/>
            <a:ext cx="129437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Agent</a:t>
            </a:r>
          </a:p>
        </p:txBody>
      </p:sp>
      <p:sp>
        <p:nvSpPr>
          <p:cNvPr id="42" name="Cylinder 41">
            <a:extLst>
              <a:ext uri="{FF2B5EF4-FFF2-40B4-BE49-F238E27FC236}">
                <a16:creationId xmlns:a16="http://schemas.microsoft.com/office/drawing/2014/main" id="{88578763-B68A-48AF-8D93-B127402DA6AF}"/>
              </a:ext>
            </a:extLst>
          </p:cNvPr>
          <p:cNvSpPr/>
          <p:nvPr/>
        </p:nvSpPr>
        <p:spPr>
          <a:xfrm>
            <a:off x="6049407" y="3222798"/>
            <a:ext cx="895865" cy="1061137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675" b="1" dirty="0">
                <a:solidFill>
                  <a:schemeClr val="tx1"/>
                </a:solidFill>
                <a:latin typeface="Calibri" panose="020F0502020204030204"/>
              </a:rPr>
              <a:t>root protected file system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675" b="1" dirty="0">
                <a:solidFill>
                  <a:schemeClr val="tx1"/>
                </a:solidFill>
                <a:latin typeface="Calibri" panose="020F0502020204030204"/>
              </a:rPr>
              <a:t>local object databas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675" b="1" dirty="0">
                <a:solidFill>
                  <a:schemeClr val="tx1"/>
                </a:solidFill>
                <a:latin typeface="Calibri" panose="020F0502020204030204"/>
              </a:rPr>
              <a:t>message security keys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1ED09BD-B17A-439C-9FB0-2361EA504ED2}"/>
              </a:ext>
            </a:extLst>
          </p:cNvPr>
          <p:cNvCxnSpPr>
            <a:cxnSpLocks/>
            <a:stCxn id="40" idx="3"/>
            <a:endCxn id="42" idx="2"/>
          </p:cNvCxnSpPr>
          <p:nvPr/>
        </p:nvCxnSpPr>
        <p:spPr>
          <a:xfrm>
            <a:off x="5644152" y="3753366"/>
            <a:ext cx="4052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F9578B17-8A76-4C13-B017-2280209CA082}"/>
              </a:ext>
            </a:extLst>
          </p:cNvPr>
          <p:cNvCxnSpPr>
            <a:cxnSpLocks/>
            <a:endCxn id="5" idx="2"/>
          </p:cNvCxnSpPr>
          <p:nvPr/>
        </p:nvCxnSpPr>
        <p:spPr>
          <a:xfrm rot="16200000" flipV="1">
            <a:off x="2692305" y="2158677"/>
            <a:ext cx="1406101" cy="116895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E46AE02A-C23A-4F38-BB32-FF8CBA229CD5}"/>
              </a:ext>
            </a:extLst>
          </p:cNvPr>
          <p:cNvCxnSpPr>
            <a:cxnSpLocks/>
            <a:stCxn id="39" idx="1"/>
            <a:endCxn id="10" idx="2"/>
          </p:cNvCxnSpPr>
          <p:nvPr/>
        </p:nvCxnSpPr>
        <p:spPr>
          <a:xfrm rot="10800000">
            <a:off x="4287695" y="2053926"/>
            <a:ext cx="57252" cy="152103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7D28AC82-4047-4134-90EB-9E88AB1E9F61}"/>
              </a:ext>
            </a:extLst>
          </p:cNvPr>
          <p:cNvSpPr txBox="1"/>
          <p:nvPr/>
        </p:nvSpPr>
        <p:spPr>
          <a:xfrm>
            <a:off x="676105" y="2056197"/>
            <a:ext cx="17915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B58BBD9-738D-41DB-8D39-CA90DDCE4F73}"/>
              </a:ext>
            </a:extLst>
          </p:cNvPr>
          <p:cNvSpPr txBox="1"/>
          <p:nvPr/>
        </p:nvSpPr>
        <p:spPr>
          <a:xfrm>
            <a:off x="261528" y="2576613"/>
            <a:ext cx="30912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Edge components are Blue/Light Blu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Edge Management Hub Components are</a:t>
            </a:r>
          </a:p>
          <a:p>
            <a:pPr marL="471488" lvl="1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Docker containers</a:t>
            </a:r>
          </a:p>
          <a:p>
            <a:pPr marL="471488" lvl="1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Deployed in a Kubernetes cluster</a:t>
            </a:r>
          </a:p>
          <a:p>
            <a:pPr marL="471488" lvl="1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Each has multiple instance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Cross Component communication is through API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ll remote communication (arrows) is via HTTP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ll remote communication is authenticated via basic auth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Remote communication is not bidirectional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(*) Message security is additional message protection on top of HTTPS</a:t>
            </a:r>
          </a:p>
          <a:p>
            <a:pPr marL="471488" lvl="1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Combination of symmetric and RSA key pair encryption</a:t>
            </a:r>
          </a:p>
          <a:p>
            <a:pPr marL="471488" lvl="1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gents and </a:t>
            </a:r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Agbots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 exchange messages via the Exchange API, never directly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There are thousands of Edge Nodes</a:t>
            </a:r>
            <a:endParaRPr lang="en-US" sz="825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BFC38A9A-8B10-4B8D-B60D-7800EE85F471}"/>
              </a:ext>
            </a:extLst>
          </p:cNvPr>
          <p:cNvCxnSpPr>
            <a:stCxn id="9" idx="1"/>
            <a:endCxn id="5" idx="3"/>
          </p:cNvCxnSpPr>
          <p:nvPr/>
        </p:nvCxnSpPr>
        <p:spPr>
          <a:xfrm rot="10800000" flipV="1">
            <a:off x="3413270" y="1664323"/>
            <a:ext cx="253499" cy="30395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923842B8-1129-45B9-A92B-C9B2B2C4CDD7}"/>
              </a:ext>
            </a:extLst>
          </p:cNvPr>
          <p:cNvCxnSpPr>
            <a:stCxn id="16" idx="1"/>
            <a:endCxn id="10" idx="3"/>
          </p:cNvCxnSpPr>
          <p:nvPr/>
        </p:nvCxnSpPr>
        <p:spPr>
          <a:xfrm rot="10800000" flipV="1">
            <a:off x="4890087" y="1661212"/>
            <a:ext cx="257763" cy="32089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6CE85B60-59F6-4959-BD02-EB6E5BBE0C5A}"/>
              </a:ext>
            </a:extLst>
          </p:cNvPr>
          <p:cNvSpPr txBox="1"/>
          <p:nvPr/>
        </p:nvSpPr>
        <p:spPr>
          <a:xfrm>
            <a:off x="2820879" y="2542208"/>
            <a:ext cx="11416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message security (*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1EDD0FB-AB81-4B26-AA9E-BEF2179B2F67}"/>
              </a:ext>
            </a:extLst>
          </p:cNvPr>
          <p:cNvSpPr txBox="1"/>
          <p:nvPr/>
        </p:nvSpPr>
        <p:spPr>
          <a:xfrm>
            <a:off x="4423394" y="2149142"/>
            <a:ext cx="11416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message security (*)</a:t>
            </a:r>
          </a:p>
        </p:txBody>
      </p:sp>
      <p:sp>
        <p:nvSpPr>
          <p:cNvPr id="65" name="Cylinder 64">
            <a:extLst>
              <a:ext uri="{FF2B5EF4-FFF2-40B4-BE49-F238E27FC236}">
                <a16:creationId xmlns:a16="http://schemas.microsoft.com/office/drawing/2014/main" id="{AB459E95-9CA2-4D06-87DF-A874CB9937BD}"/>
              </a:ext>
            </a:extLst>
          </p:cNvPr>
          <p:cNvSpPr/>
          <p:nvPr/>
        </p:nvSpPr>
        <p:spPr>
          <a:xfrm>
            <a:off x="6240165" y="1056771"/>
            <a:ext cx="693909" cy="307618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75" b="1" dirty="0">
                <a:solidFill>
                  <a:schemeClr val="tx1"/>
                </a:solidFill>
                <a:latin typeface="Calibri" panose="020F0502020204030204"/>
              </a:rPr>
              <a:t>message security keys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3B49C480-D225-4B92-99A4-8F73206F97FA}"/>
              </a:ext>
            </a:extLst>
          </p:cNvPr>
          <p:cNvCxnSpPr>
            <a:cxnSpLocks/>
            <a:stCxn id="16" idx="3"/>
            <a:endCxn id="65" idx="3"/>
          </p:cNvCxnSpPr>
          <p:nvPr/>
        </p:nvCxnSpPr>
        <p:spPr>
          <a:xfrm flipV="1">
            <a:off x="6389704" y="1364388"/>
            <a:ext cx="197416" cy="29682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1152F95-28CC-48EF-847C-CF8A992201BA}"/>
              </a:ext>
            </a:extLst>
          </p:cNvPr>
          <p:cNvSpPr/>
          <p:nvPr/>
        </p:nvSpPr>
        <p:spPr>
          <a:xfrm>
            <a:off x="576135" y="1422572"/>
            <a:ext cx="1241854" cy="4772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UI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2621D73D-53AC-4965-9AE2-9E11ACBC04E3}"/>
              </a:ext>
            </a:extLst>
          </p:cNvPr>
          <p:cNvCxnSpPr>
            <a:stCxn id="36" idx="2"/>
            <a:endCxn id="5" idx="1"/>
          </p:cNvCxnSpPr>
          <p:nvPr/>
        </p:nvCxnSpPr>
        <p:spPr>
          <a:xfrm rot="16200000" flipH="1">
            <a:off x="1668561" y="1428352"/>
            <a:ext cx="68427" cy="101142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AE386C88-EBE2-4FA5-BA50-75536C2D97EF}"/>
              </a:ext>
            </a:extLst>
          </p:cNvPr>
          <p:cNvSpPr/>
          <p:nvPr/>
        </p:nvSpPr>
        <p:spPr>
          <a:xfrm>
            <a:off x="5814793" y="1899392"/>
            <a:ext cx="574910" cy="1444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Calibri" panose="020F0502020204030204"/>
              </a:rPr>
              <a:t>API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A5080A4-33E5-46CD-B5C2-4A3B979D0D26}"/>
              </a:ext>
            </a:extLst>
          </p:cNvPr>
          <p:cNvSpPr/>
          <p:nvPr/>
        </p:nvSpPr>
        <p:spPr>
          <a:xfrm>
            <a:off x="7018357" y="1410127"/>
            <a:ext cx="1241854" cy="4772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SDO</a:t>
            </a: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0933E1C9-61E6-41C8-A1D4-32EAED17E70B}"/>
              </a:ext>
            </a:extLst>
          </p:cNvPr>
          <p:cNvCxnSpPr>
            <a:cxnSpLocks/>
            <a:stCxn id="61" idx="1"/>
            <a:endCxn id="5" idx="2"/>
          </p:cNvCxnSpPr>
          <p:nvPr/>
        </p:nvCxnSpPr>
        <p:spPr>
          <a:xfrm rot="10800000" flipV="1">
            <a:off x="2810880" y="1648767"/>
            <a:ext cx="4207478" cy="391335"/>
          </a:xfrm>
          <a:prstGeom prst="bentConnector4">
            <a:avLst>
              <a:gd name="adj1" fmla="val 6028"/>
              <a:gd name="adj2" fmla="val 19865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CCF882A3-3982-4FDB-A231-E56A9B0A8ECD}"/>
              </a:ext>
            </a:extLst>
          </p:cNvPr>
          <p:cNvCxnSpPr>
            <a:cxnSpLocks/>
            <a:stCxn id="40" idx="0"/>
            <a:endCxn id="77" idx="2"/>
          </p:cNvCxnSpPr>
          <p:nvPr/>
        </p:nvCxnSpPr>
        <p:spPr>
          <a:xfrm rot="5400000" flipH="1" flipV="1">
            <a:off x="5598201" y="1178523"/>
            <a:ext cx="1195133" cy="289341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D0A6E084-1F4A-423D-8E67-D80FAC59390A}"/>
              </a:ext>
            </a:extLst>
          </p:cNvPr>
          <p:cNvSpPr/>
          <p:nvPr/>
        </p:nvSpPr>
        <p:spPr>
          <a:xfrm>
            <a:off x="7043274" y="1895673"/>
            <a:ext cx="1198402" cy="1319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prstClr val="white"/>
                </a:solidFill>
                <a:latin typeface="Calibri" panose="020F0502020204030204"/>
              </a:rPr>
              <a:t>API</a:t>
            </a:r>
          </a:p>
        </p:txBody>
      </p:sp>
      <p:sp>
        <p:nvSpPr>
          <p:cNvPr id="45" name="Cylinder 44">
            <a:extLst>
              <a:ext uri="{FF2B5EF4-FFF2-40B4-BE49-F238E27FC236}">
                <a16:creationId xmlns:a16="http://schemas.microsoft.com/office/drawing/2014/main" id="{B0EF5800-D8DC-4087-8A91-DDB1248F0741}"/>
              </a:ext>
            </a:extLst>
          </p:cNvPr>
          <p:cNvSpPr/>
          <p:nvPr/>
        </p:nvSpPr>
        <p:spPr>
          <a:xfrm>
            <a:off x="7191351" y="793894"/>
            <a:ext cx="895865" cy="460942"/>
          </a:xfrm>
          <a:prstGeom prst="can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88" dirty="0">
                <a:solidFill>
                  <a:prstClr val="black"/>
                </a:solidFill>
                <a:latin typeface="Calibri" panose="020F0502020204030204"/>
              </a:rPr>
              <a:t>Device</a:t>
            </a:r>
          </a:p>
          <a:p>
            <a:pPr algn="ctr"/>
            <a:r>
              <a:rPr lang="en-US" sz="788" dirty="0">
                <a:solidFill>
                  <a:prstClr val="black"/>
                </a:solidFill>
                <a:latin typeface="Calibri" panose="020F0502020204030204"/>
              </a:rPr>
              <a:t>Registration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DF51AB1-21A4-4F47-9FD1-89D15BE87F49}"/>
              </a:ext>
            </a:extLst>
          </p:cNvPr>
          <p:cNvCxnSpPr>
            <a:stCxn id="61" idx="0"/>
            <a:endCxn id="45" idx="3"/>
          </p:cNvCxnSpPr>
          <p:nvPr/>
        </p:nvCxnSpPr>
        <p:spPr>
          <a:xfrm flipH="1" flipV="1">
            <a:off x="7639284" y="1254836"/>
            <a:ext cx="1" cy="1552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BF4EB9E-02CC-4120-90FB-F0EAA7A68F44}"/>
              </a:ext>
            </a:extLst>
          </p:cNvPr>
          <p:cNvSpPr/>
          <p:nvPr/>
        </p:nvSpPr>
        <p:spPr>
          <a:xfrm>
            <a:off x="6966709" y="630214"/>
            <a:ext cx="1470938" cy="1941536"/>
          </a:xfrm>
          <a:prstGeom prst="rect">
            <a:avLst/>
          </a:prstGeom>
          <a:solidFill>
            <a:srgbClr val="778991">
              <a:alpha val="18039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E25C533F-5CAB-4064-B201-B357317D75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52"/>
          <a:stretch/>
        </p:blipFill>
        <p:spPr>
          <a:xfrm>
            <a:off x="571501" y="771523"/>
            <a:ext cx="422492" cy="3308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C9A4937-E2D3-4AFB-A583-E5C6F24C2863}"/>
              </a:ext>
            </a:extLst>
          </p:cNvPr>
          <p:cNvSpPr txBox="1"/>
          <p:nvPr/>
        </p:nvSpPr>
        <p:spPr>
          <a:xfrm>
            <a:off x="941334" y="805892"/>
            <a:ext cx="4385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OCP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8126D1C-2A90-43C3-BE80-A5E1E51F8BF7}"/>
              </a:ext>
            </a:extLst>
          </p:cNvPr>
          <p:cNvSpPr txBox="1"/>
          <p:nvPr/>
        </p:nvSpPr>
        <p:spPr>
          <a:xfrm>
            <a:off x="7326209" y="431354"/>
            <a:ext cx="81144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Tech preview</a:t>
            </a:r>
          </a:p>
        </p:txBody>
      </p:sp>
    </p:spTree>
    <p:extLst>
      <p:ext uri="{BB962C8B-B14F-4D97-AF65-F5344CB8AC3E}">
        <p14:creationId xmlns:p14="http://schemas.microsoft.com/office/powerpoint/2010/main" val="40689115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750" dirty="0">
                <a:solidFill>
                  <a:schemeClr val="tx1"/>
                </a:solidFill>
                <a:latin typeface="IBM Plex Sans Medium" panose="020B050305020300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07863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FB830C3A-9DD7-42D8-9EF9-31EBC1D2C448}"/>
              </a:ext>
            </a:extLst>
          </p:cNvPr>
          <p:cNvSpPr/>
          <p:nvPr/>
        </p:nvSpPr>
        <p:spPr>
          <a:xfrm>
            <a:off x="5399747" y="990968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26" name="Rectangle: Single Corner Snipped 25">
            <a:extLst>
              <a:ext uri="{FF2B5EF4-FFF2-40B4-BE49-F238E27FC236}">
                <a16:creationId xmlns:a16="http://schemas.microsoft.com/office/drawing/2014/main" id="{213BAC35-FA4F-4272-A750-5228A8805B7E}"/>
              </a:ext>
            </a:extLst>
          </p:cNvPr>
          <p:cNvSpPr/>
          <p:nvPr/>
        </p:nvSpPr>
        <p:spPr>
          <a:xfrm>
            <a:off x="7218242" y="2301472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sp>
        <p:nvSpPr>
          <p:cNvPr id="65" name="Rectangle: Single Corner Snipped 64">
            <a:extLst>
              <a:ext uri="{FF2B5EF4-FFF2-40B4-BE49-F238E27FC236}">
                <a16:creationId xmlns:a16="http://schemas.microsoft.com/office/drawing/2014/main" id="{8943A91E-08C4-4FAB-8061-42ADEAA13727}"/>
              </a:ext>
            </a:extLst>
          </p:cNvPr>
          <p:cNvSpPr/>
          <p:nvPr/>
        </p:nvSpPr>
        <p:spPr>
          <a:xfrm>
            <a:off x="5807342" y="2301472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367083E-BF09-4602-86DA-06FB55B0BDB1}"/>
              </a:ext>
            </a:extLst>
          </p:cNvPr>
          <p:cNvSpPr/>
          <p:nvPr/>
        </p:nvSpPr>
        <p:spPr>
          <a:xfrm>
            <a:off x="1104900" y="1280112"/>
            <a:ext cx="3517900" cy="2263188"/>
          </a:xfrm>
          <a:prstGeom prst="roundRect">
            <a:avLst>
              <a:gd name="adj" fmla="val 4116"/>
            </a:avLst>
          </a:prstGeom>
          <a:solidFill>
            <a:schemeClr val="accent6">
              <a:lumMod val="75000"/>
              <a:alpha val="63000"/>
            </a:schemeClr>
          </a:solidFill>
          <a:ln w="222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/>
              </a:rPr>
              <a:t>Device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B36F92EF-44E7-4230-BC4F-EC445D6279CA}"/>
              </a:ext>
            </a:extLst>
          </p:cNvPr>
          <p:cNvSpPr/>
          <p:nvPr/>
        </p:nvSpPr>
        <p:spPr>
          <a:xfrm>
            <a:off x="2885733" y="1433090"/>
            <a:ext cx="1317632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91" name="Rectangle: Single Corner Snipped 90">
            <a:extLst>
              <a:ext uri="{FF2B5EF4-FFF2-40B4-BE49-F238E27FC236}">
                <a16:creationId xmlns:a16="http://schemas.microsoft.com/office/drawing/2014/main" id="{DF02D992-6182-4D94-BFE9-92E80B2C9CB7}"/>
              </a:ext>
            </a:extLst>
          </p:cNvPr>
          <p:cNvSpPr/>
          <p:nvPr/>
        </p:nvSpPr>
        <p:spPr>
          <a:xfrm>
            <a:off x="1216939" y="1634868"/>
            <a:ext cx="1129337" cy="123503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(properties)</a:t>
            </a:r>
          </a:p>
          <a:p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,</a:t>
            </a:r>
            <a:br>
              <a:rPr lang="en-US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ey: valu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4C3E6B6-2007-470B-8319-D05C1FFA2041}"/>
              </a:ext>
            </a:extLst>
          </p:cNvPr>
          <p:cNvSpPr txBox="1"/>
          <p:nvPr/>
        </p:nvSpPr>
        <p:spPr>
          <a:xfrm>
            <a:off x="403413" y="268263"/>
            <a:ext cx="4070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Agent and Service Deployment (Device)</a:t>
            </a:r>
          </a:p>
        </p:txBody>
      </p: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840ED429-9456-4FC3-9302-2A7C02FE03BE}"/>
              </a:ext>
            </a:extLst>
          </p:cNvPr>
          <p:cNvCxnSpPr>
            <a:cxnSpLocks/>
            <a:stCxn id="26" idx="2"/>
            <a:endCxn id="65" idx="0"/>
          </p:cNvCxnSpPr>
          <p:nvPr/>
        </p:nvCxnSpPr>
        <p:spPr>
          <a:xfrm flipH="1">
            <a:off x="6896100" y="2585689"/>
            <a:ext cx="3221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93">
            <a:extLst>
              <a:ext uri="{FF2B5EF4-FFF2-40B4-BE49-F238E27FC236}">
                <a16:creationId xmlns:a16="http://schemas.microsoft.com/office/drawing/2014/main" id="{D72D1B11-D511-1040-97B1-BD155C406681}"/>
              </a:ext>
            </a:extLst>
          </p:cNvPr>
          <p:cNvSpPr/>
          <p:nvPr/>
        </p:nvSpPr>
        <p:spPr>
          <a:xfrm>
            <a:off x="3009220" y="2608003"/>
            <a:ext cx="1464771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Service1</a:t>
            </a:r>
          </a:p>
        </p:txBody>
      </p:sp>
      <p:sp>
        <p:nvSpPr>
          <p:cNvPr id="43" name="Right Arrow 42">
            <a:extLst>
              <a:ext uri="{FF2B5EF4-FFF2-40B4-BE49-F238E27FC236}">
                <a16:creationId xmlns:a16="http://schemas.microsoft.com/office/drawing/2014/main" id="{E0CD2B14-D541-B848-85A4-321BF3673414}"/>
              </a:ext>
            </a:extLst>
          </p:cNvPr>
          <p:cNvSpPr/>
          <p:nvPr/>
        </p:nvSpPr>
        <p:spPr>
          <a:xfrm>
            <a:off x="4203364" y="1628002"/>
            <a:ext cx="1196383" cy="1499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: Rounded Corners 93">
            <a:extLst>
              <a:ext uri="{FF2B5EF4-FFF2-40B4-BE49-F238E27FC236}">
                <a16:creationId xmlns:a16="http://schemas.microsoft.com/office/drawing/2014/main" id="{F10B8860-FFAB-654F-9EA1-0094F51B8E9D}"/>
              </a:ext>
            </a:extLst>
          </p:cNvPr>
          <p:cNvSpPr/>
          <p:nvPr/>
        </p:nvSpPr>
        <p:spPr>
          <a:xfrm>
            <a:off x="2856820" y="2455603"/>
            <a:ext cx="1464771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Service1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1FB4B428-73C6-41D5-9534-1CF1DFFD21FD}"/>
              </a:ext>
            </a:extLst>
          </p:cNvPr>
          <p:cNvSpPr/>
          <p:nvPr/>
        </p:nvSpPr>
        <p:spPr>
          <a:xfrm>
            <a:off x="2704420" y="2303203"/>
            <a:ext cx="1464771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Service1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BE53D189-0F9F-488B-83FB-69AFDFBC7B10}"/>
              </a:ext>
            </a:extLst>
          </p:cNvPr>
          <p:cNvCxnSpPr>
            <a:cxnSpLocks/>
            <a:stCxn id="65" idx="2"/>
            <a:endCxn id="94" idx="3"/>
          </p:cNvCxnSpPr>
          <p:nvPr/>
        </p:nvCxnSpPr>
        <p:spPr>
          <a:xfrm rot="10800000">
            <a:off x="4169192" y="2583123"/>
            <a:ext cx="1638151" cy="256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953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4EC7D315-3AE8-5C41-B414-159CB5E7CE74}"/>
              </a:ext>
            </a:extLst>
          </p:cNvPr>
          <p:cNvSpPr/>
          <p:nvPr/>
        </p:nvSpPr>
        <p:spPr>
          <a:xfrm>
            <a:off x="266700" y="637595"/>
            <a:ext cx="4149046" cy="4391605"/>
          </a:xfrm>
          <a:prstGeom prst="roundRect">
            <a:avLst>
              <a:gd name="adj" fmla="val 1668"/>
            </a:avLst>
          </a:prstGeom>
          <a:solidFill>
            <a:schemeClr val="accent6">
              <a:alpha val="42000"/>
            </a:schemeClr>
          </a:solidFill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7751DA0-43B3-4136-A550-872FE5FA78E8}"/>
              </a:ext>
            </a:extLst>
          </p:cNvPr>
          <p:cNvSpPr/>
          <p:nvPr/>
        </p:nvSpPr>
        <p:spPr>
          <a:xfrm>
            <a:off x="1756811" y="3672908"/>
            <a:ext cx="2188028" cy="1203892"/>
          </a:xfrm>
          <a:prstGeom prst="roundRect">
            <a:avLst>
              <a:gd name="adj" fmla="val 7173"/>
            </a:avLst>
          </a:prstGeom>
          <a:solidFill>
            <a:schemeClr val="accent5">
              <a:lumMod val="60000"/>
              <a:lumOff val="40000"/>
              <a:alpha val="5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8s worker</a:t>
            </a:r>
          </a:p>
        </p:txBody>
      </p:sp>
      <p:sp>
        <p:nvSpPr>
          <p:cNvPr id="42" name="Rectangle: Rounded Corners 78">
            <a:extLst>
              <a:ext uri="{FF2B5EF4-FFF2-40B4-BE49-F238E27FC236}">
                <a16:creationId xmlns:a16="http://schemas.microsoft.com/office/drawing/2014/main" id="{8598AEBF-518C-374D-B0F4-E6806550A410}"/>
              </a:ext>
            </a:extLst>
          </p:cNvPr>
          <p:cNvSpPr/>
          <p:nvPr/>
        </p:nvSpPr>
        <p:spPr>
          <a:xfrm>
            <a:off x="5493603" y="894748"/>
            <a:ext cx="3123842" cy="3619131"/>
          </a:xfrm>
          <a:prstGeom prst="roundRect">
            <a:avLst>
              <a:gd name="adj" fmla="val 1646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Management Hub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F1B5922-8CC6-4B9C-9511-DABCCD63EC9F}"/>
              </a:ext>
            </a:extLst>
          </p:cNvPr>
          <p:cNvSpPr/>
          <p:nvPr/>
        </p:nvSpPr>
        <p:spPr>
          <a:xfrm>
            <a:off x="1756811" y="753597"/>
            <a:ext cx="2188028" cy="1218139"/>
          </a:xfrm>
          <a:prstGeom prst="roundRect">
            <a:avLst>
              <a:gd name="adj" fmla="val 4156"/>
            </a:avLst>
          </a:prstGeom>
          <a:solidFill>
            <a:schemeClr val="accent5">
              <a:lumMod val="60000"/>
              <a:lumOff val="40000"/>
              <a:alpha val="5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8s worker</a:t>
            </a:r>
          </a:p>
        </p:txBody>
      </p:sp>
      <p:sp>
        <p:nvSpPr>
          <p:cNvPr id="66" name="Rectangle: Single Corner Snipped 65">
            <a:extLst>
              <a:ext uri="{FF2B5EF4-FFF2-40B4-BE49-F238E27FC236}">
                <a16:creationId xmlns:a16="http://schemas.microsoft.com/office/drawing/2014/main" id="{69EA14BA-15C9-494B-927F-3FF34B7A10B2}"/>
              </a:ext>
            </a:extLst>
          </p:cNvPr>
          <p:cNvSpPr/>
          <p:nvPr/>
        </p:nvSpPr>
        <p:spPr>
          <a:xfrm>
            <a:off x="1950790" y="1196179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Node Polic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C534A4-AEDF-45FE-9BBA-11561EF8F3C7}"/>
              </a:ext>
            </a:extLst>
          </p:cNvPr>
          <p:cNvSpPr/>
          <p:nvPr/>
        </p:nvSpPr>
        <p:spPr>
          <a:xfrm>
            <a:off x="618252" y="1918746"/>
            <a:ext cx="789702" cy="37555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2F5DF4A-02F2-49EE-90E6-17809E74C31F}"/>
              </a:ext>
            </a:extLst>
          </p:cNvPr>
          <p:cNvSpPr/>
          <p:nvPr/>
        </p:nvSpPr>
        <p:spPr>
          <a:xfrm>
            <a:off x="508617" y="1965400"/>
            <a:ext cx="828092" cy="37555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7C81EC8-F0FE-4E6E-85D1-E2395E24D334}"/>
              </a:ext>
            </a:extLst>
          </p:cNvPr>
          <p:cNvSpPr/>
          <p:nvPr/>
        </p:nvSpPr>
        <p:spPr>
          <a:xfrm>
            <a:off x="1756811" y="2070378"/>
            <a:ext cx="2188028" cy="1371455"/>
          </a:xfrm>
          <a:prstGeom prst="roundRect">
            <a:avLst>
              <a:gd name="adj" fmla="val 2777"/>
            </a:avLst>
          </a:prstGeom>
          <a:solidFill>
            <a:schemeClr val="accent5">
              <a:lumMod val="60000"/>
              <a:lumOff val="40000"/>
              <a:alpha val="5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k8s worker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841EC13-077F-4508-8E1A-F5E59DF99734}"/>
              </a:ext>
            </a:extLst>
          </p:cNvPr>
          <p:cNvSpPr/>
          <p:nvPr/>
        </p:nvSpPr>
        <p:spPr>
          <a:xfrm>
            <a:off x="2924010" y="1181456"/>
            <a:ext cx="776774" cy="51682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agent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07434FA-3ED3-4AC7-A0EC-A2732F11A955}"/>
              </a:ext>
            </a:extLst>
          </p:cNvPr>
          <p:cNvSpPr/>
          <p:nvPr/>
        </p:nvSpPr>
        <p:spPr>
          <a:xfrm>
            <a:off x="1831032" y="2471590"/>
            <a:ext cx="914401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Cluster Service1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286BA10-F9FE-4C49-B1BE-D1DB15A2F957}"/>
              </a:ext>
            </a:extLst>
          </p:cNvPr>
          <p:cNvSpPr/>
          <p:nvPr/>
        </p:nvSpPr>
        <p:spPr>
          <a:xfrm>
            <a:off x="1840786" y="4074122"/>
            <a:ext cx="858417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Cluster Service1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80E27BC-CCC0-46BA-B6CD-3C295AA1915F}"/>
              </a:ext>
            </a:extLst>
          </p:cNvPr>
          <p:cNvSpPr/>
          <p:nvPr/>
        </p:nvSpPr>
        <p:spPr>
          <a:xfrm>
            <a:off x="2845100" y="2471591"/>
            <a:ext cx="1035698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Operator for service1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CA1C92B-80F1-41DA-917B-1B145E39D49B}"/>
              </a:ext>
            </a:extLst>
          </p:cNvPr>
          <p:cNvSpPr/>
          <p:nvPr/>
        </p:nvSpPr>
        <p:spPr>
          <a:xfrm>
            <a:off x="431639" y="2033047"/>
            <a:ext cx="828092" cy="37555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Kube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 Mas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0D0DEE-E0AD-4DA7-974E-A2FC74794A57}"/>
              </a:ext>
            </a:extLst>
          </p:cNvPr>
          <p:cNvSpPr txBox="1"/>
          <p:nvPr/>
        </p:nvSpPr>
        <p:spPr>
          <a:xfrm>
            <a:off x="4551541" y="2262381"/>
            <a:ext cx="66300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deplo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74AD660-71FB-4037-9444-9B5E8ABA913B}"/>
              </a:ext>
            </a:extLst>
          </p:cNvPr>
          <p:cNvSpPr txBox="1"/>
          <p:nvPr/>
        </p:nvSpPr>
        <p:spPr>
          <a:xfrm>
            <a:off x="3322394" y="3389220"/>
            <a:ext cx="66300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deploy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B1C57818-86F1-435B-8878-BDDFCD7A2A02}"/>
              </a:ext>
            </a:extLst>
          </p:cNvPr>
          <p:cNvCxnSpPr>
            <a:cxnSpLocks/>
            <a:stCxn id="18" idx="2"/>
            <a:endCxn id="23" idx="3"/>
          </p:cNvCxnSpPr>
          <p:nvPr/>
        </p:nvCxnSpPr>
        <p:spPr>
          <a:xfrm rot="16200000" flipH="1">
            <a:off x="3069982" y="1940694"/>
            <a:ext cx="1053230" cy="568401"/>
          </a:xfrm>
          <a:prstGeom prst="bentConnector4">
            <a:avLst>
              <a:gd name="adj1" fmla="val 30682"/>
              <a:gd name="adj2" fmla="val 14021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766ABAA-5F68-439A-82A8-F70054F96614}"/>
              </a:ext>
            </a:extLst>
          </p:cNvPr>
          <p:cNvCxnSpPr>
            <a:cxnSpLocks/>
            <a:stCxn id="15" idx="3"/>
            <a:endCxn id="13" idx="1"/>
          </p:cNvCxnSpPr>
          <p:nvPr/>
        </p:nvCxnSpPr>
        <p:spPr>
          <a:xfrm flipV="1">
            <a:off x="1259731" y="1362667"/>
            <a:ext cx="497080" cy="85815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F4C3E6B6-2007-470B-8319-D05C1FFA2041}"/>
              </a:ext>
            </a:extLst>
          </p:cNvPr>
          <p:cNvSpPr txBox="1"/>
          <p:nvPr/>
        </p:nvSpPr>
        <p:spPr>
          <a:xfrm>
            <a:off x="403414" y="268263"/>
            <a:ext cx="5235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Agent and Service Deployment (Edge Cluster)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8DA5007-584C-4953-A3EC-6ACAC929C13D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1259731" y="2220823"/>
            <a:ext cx="497080" cy="205403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D690869-4D25-4DE1-9503-A56D836B5295}"/>
              </a:ext>
            </a:extLst>
          </p:cNvPr>
          <p:cNvCxnSpPr>
            <a:cxnSpLocks/>
            <a:stCxn id="15" idx="3"/>
            <a:endCxn id="16" idx="1"/>
          </p:cNvCxnSpPr>
          <p:nvPr/>
        </p:nvCxnSpPr>
        <p:spPr>
          <a:xfrm>
            <a:off x="1259731" y="2220823"/>
            <a:ext cx="497080" cy="5352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62841FB7-5592-4C7A-A211-DDA16EC30A75}"/>
              </a:ext>
            </a:extLst>
          </p:cNvPr>
          <p:cNvCxnSpPr>
            <a:cxnSpLocks/>
            <a:stCxn id="23" idx="2"/>
            <a:endCxn id="21" idx="2"/>
          </p:cNvCxnSpPr>
          <p:nvPr/>
        </p:nvCxnSpPr>
        <p:spPr>
          <a:xfrm rot="5400000" flipH="1">
            <a:off x="2825590" y="2494069"/>
            <a:ext cx="1" cy="1074717"/>
          </a:xfrm>
          <a:prstGeom prst="bentConnector3">
            <a:avLst>
              <a:gd name="adj1" fmla="val -228600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2688B06D-4556-4EB0-B4C4-795AF7BBB742}"/>
              </a:ext>
            </a:extLst>
          </p:cNvPr>
          <p:cNvCxnSpPr>
            <a:cxnSpLocks/>
            <a:stCxn id="23" idx="2"/>
            <a:endCxn id="22" idx="3"/>
          </p:cNvCxnSpPr>
          <p:nvPr/>
        </p:nvCxnSpPr>
        <p:spPr>
          <a:xfrm rot="5400000">
            <a:off x="2369770" y="3360862"/>
            <a:ext cx="1322613" cy="66374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D5EC2EFC-A769-4752-B8E1-6667604BEB0F}"/>
              </a:ext>
            </a:extLst>
          </p:cNvPr>
          <p:cNvCxnSpPr>
            <a:cxnSpLocks/>
            <a:stCxn id="44" idx="2"/>
            <a:endCxn id="23" idx="3"/>
          </p:cNvCxnSpPr>
          <p:nvPr/>
        </p:nvCxnSpPr>
        <p:spPr>
          <a:xfrm rot="10800000" flipV="1">
            <a:off x="3880798" y="2751508"/>
            <a:ext cx="1926544" cy="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DDD901E9-7C15-4929-8C01-5B4EC57E7AAE}"/>
              </a:ext>
            </a:extLst>
          </p:cNvPr>
          <p:cNvSpPr txBox="1"/>
          <p:nvPr/>
        </p:nvSpPr>
        <p:spPr>
          <a:xfrm>
            <a:off x="314477" y="702075"/>
            <a:ext cx="105695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Cluster</a:t>
            </a:r>
          </a:p>
        </p:txBody>
      </p:sp>
      <p:sp>
        <p:nvSpPr>
          <p:cNvPr id="43" name="Rectangle: Single Corner Snipped 25">
            <a:extLst>
              <a:ext uri="{FF2B5EF4-FFF2-40B4-BE49-F238E27FC236}">
                <a16:creationId xmlns:a16="http://schemas.microsoft.com/office/drawing/2014/main" id="{DA7A510F-CA1D-1945-B252-4FBC1070D3DC}"/>
              </a:ext>
            </a:extLst>
          </p:cNvPr>
          <p:cNvSpPr/>
          <p:nvPr/>
        </p:nvSpPr>
        <p:spPr>
          <a:xfrm>
            <a:off x="7220896" y="2467291"/>
            <a:ext cx="1134256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sp>
        <p:nvSpPr>
          <p:cNvPr id="44" name="Rectangle: Single Corner Snipped 64">
            <a:extLst>
              <a:ext uri="{FF2B5EF4-FFF2-40B4-BE49-F238E27FC236}">
                <a16:creationId xmlns:a16="http://schemas.microsoft.com/office/drawing/2014/main" id="{8C09FEF2-9727-E041-B6FD-CF404407AB56}"/>
              </a:ext>
            </a:extLst>
          </p:cNvPr>
          <p:cNvSpPr/>
          <p:nvPr/>
        </p:nvSpPr>
        <p:spPr>
          <a:xfrm>
            <a:off x="5807342" y="2467291"/>
            <a:ext cx="1088758" cy="568434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CBE1CB5-AFBE-3640-A06F-DC4096F47015}"/>
              </a:ext>
            </a:extLst>
          </p:cNvPr>
          <p:cNvCxnSpPr>
            <a:cxnSpLocks/>
            <a:stCxn id="43" idx="2"/>
            <a:endCxn id="44" idx="0"/>
          </p:cNvCxnSpPr>
          <p:nvPr/>
        </p:nvCxnSpPr>
        <p:spPr>
          <a:xfrm flipH="1">
            <a:off x="6896100" y="2751508"/>
            <a:ext cx="324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ight Arrow 66">
            <a:extLst>
              <a:ext uri="{FF2B5EF4-FFF2-40B4-BE49-F238E27FC236}">
                <a16:creationId xmlns:a16="http://schemas.microsoft.com/office/drawing/2014/main" id="{A2A41B3C-23D1-D748-85BC-EF736E343955}"/>
              </a:ext>
            </a:extLst>
          </p:cNvPr>
          <p:cNvSpPr/>
          <p:nvPr/>
        </p:nvSpPr>
        <p:spPr>
          <a:xfrm>
            <a:off x="3700784" y="1374989"/>
            <a:ext cx="1792819" cy="1708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270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Single Corner Snipped 25">
            <a:extLst>
              <a:ext uri="{FF2B5EF4-FFF2-40B4-BE49-F238E27FC236}">
                <a16:creationId xmlns:a16="http://schemas.microsoft.com/office/drawing/2014/main" id="{213BAC35-FA4F-4272-A750-5228A8805B7E}"/>
              </a:ext>
            </a:extLst>
          </p:cNvPr>
          <p:cNvSpPr/>
          <p:nvPr/>
        </p:nvSpPr>
        <p:spPr>
          <a:xfrm>
            <a:off x="348657" y="1876650"/>
            <a:ext cx="941288" cy="5458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sp>
        <p:nvSpPr>
          <p:cNvPr id="65" name="Rectangle: Single Corner Snipped 64">
            <a:extLst>
              <a:ext uri="{FF2B5EF4-FFF2-40B4-BE49-F238E27FC236}">
                <a16:creationId xmlns:a16="http://schemas.microsoft.com/office/drawing/2014/main" id="{8943A91E-08C4-4FAB-8061-42ADEAA13727}"/>
              </a:ext>
            </a:extLst>
          </p:cNvPr>
          <p:cNvSpPr/>
          <p:nvPr/>
        </p:nvSpPr>
        <p:spPr>
          <a:xfrm>
            <a:off x="1210908" y="912666"/>
            <a:ext cx="872413" cy="463014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4C3E6B6-2007-470B-8319-D05C1FFA2041}"/>
              </a:ext>
            </a:extLst>
          </p:cNvPr>
          <p:cNvSpPr txBox="1"/>
          <p:nvPr/>
        </p:nvSpPr>
        <p:spPr>
          <a:xfrm>
            <a:off x="403414" y="268262"/>
            <a:ext cx="219002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>
                <a:solidFill>
                  <a:prstClr val="black"/>
                </a:solidFill>
                <a:latin typeface="Calibri" panose="020F0502020204030204"/>
              </a:rPr>
              <a:t>Service Placement</a:t>
            </a:r>
          </a:p>
        </p:txBody>
      </p:sp>
      <p:sp>
        <p:nvSpPr>
          <p:cNvPr id="53" name="Rectangle: Single Corner Snipped 52">
            <a:extLst>
              <a:ext uri="{FF2B5EF4-FFF2-40B4-BE49-F238E27FC236}">
                <a16:creationId xmlns:a16="http://schemas.microsoft.com/office/drawing/2014/main" id="{20DDF6F1-C0CE-4FF4-BAF8-406ACA6BA05D}"/>
              </a:ext>
            </a:extLst>
          </p:cNvPr>
          <p:cNvSpPr/>
          <p:nvPr/>
        </p:nvSpPr>
        <p:spPr>
          <a:xfrm>
            <a:off x="1712034" y="1918616"/>
            <a:ext cx="872413" cy="463014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Policy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587B967-407C-4221-A35B-05CFE611BF63}"/>
              </a:ext>
            </a:extLst>
          </p:cNvPr>
          <p:cNvSpPr/>
          <p:nvPr/>
        </p:nvSpPr>
        <p:spPr>
          <a:xfrm>
            <a:off x="1592100" y="2883161"/>
            <a:ext cx="1665514" cy="8070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Placement Eng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4E2BD6-EAED-4E32-B4F9-BDFE7CAA6A07}"/>
              </a:ext>
            </a:extLst>
          </p:cNvPr>
          <p:cNvSpPr txBox="1"/>
          <p:nvPr/>
        </p:nvSpPr>
        <p:spPr>
          <a:xfrm>
            <a:off x="1377496" y="2011624"/>
            <a:ext cx="21460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+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95408408-4755-4A4D-99E0-AB8D2ED939C7}"/>
              </a:ext>
            </a:extLst>
          </p:cNvPr>
          <p:cNvCxnSpPr>
            <a:cxnSpLocks/>
            <a:stCxn id="26" idx="3"/>
            <a:endCxn id="65" idx="2"/>
          </p:cNvCxnSpPr>
          <p:nvPr/>
        </p:nvCxnSpPr>
        <p:spPr>
          <a:xfrm rot="5400000" flipH="1" flipV="1">
            <a:off x="648866" y="1314609"/>
            <a:ext cx="732477" cy="3916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15D6239A-6C2D-4E9F-906E-DAFE129940A0}"/>
              </a:ext>
            </a:extLst>
          </p:cNvPr>
          <p:cNvCxnSpPr>
            <a:cxnSpLocks/>
            <a:stCxn id="65" idx="0"/>
            <a:endCxn id="53" idx="3"/>
          </p:cNvCxnSpPr>
          <p:nvPr/>
        </p:nvCxnSpPr>
        <p:spPr>
          <a:xfrm>
            <a:off x="2083321" y="1144174"/>
            <a:ext cx="64919" cy="77444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Single Corner Snipped 19">
            <a:extLst>
              <a:ext uri="{FF2B5EF4-FFF2-40B4-BE49-F238E27FC236}">
                <a16:creationId xmlns:a16="http://schemas.microsoft.com/office/drawing/2014/main" id="{027E4D0C-1EA8-4A04-80A0-8676D0BBD00C}"/>
              </a:ext>
            </a:extLst>
          </p:cNvPr>
          <p:cNvSpPr/>
          <p:nvPr/>
        </p:nvSpPr>
        <p:spPr>
          <a:xfrm>
            <a:off x="3257613" y="1915126"/>
            <a:ext cx="872413" cy="463014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Node Polic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BBA61BA-3C58-4B43-9836-328C1E3E6467}"/>
              </a:ext>
            </a:extLst>
          </p:cNvPr>
          <p:cNvSpPr txBox="1"/>
          <p:nvPr/>
        </p:nvSpPr>
        <p:spPr>
          <a:xfrm>
            <a:off x="2593355" y="1988381"/>
            <a:ext cx="709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compatible</a:t>
            </a:r>
          </a:p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with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CC02D8E0-3AE9-49E4-B5C7-445E90BAE179}"/>
              </a:ext>
            </a:extLst>
          </p:cNvPr>
          <p:cNvCxnSpPr>
            <a:cxnSpLocks/>
            <a:stCxn id="3" idx="1"/>
            <a:endCxn id="26" idx="1"/>
          </p:cNvCxnSpPr>
          <p:nvPr/>
        </p:nvCxnSpPr>
        <p:spPr>
          <a:xfrm rot="10800000">
            <a:off x="819302" y="2422478"/>
            <a:ext cx="772799" cy="8642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5E2F4DF-43FE-4B8B-AE3D-A806DA95C96C}"/>
              </a:ext>
            </a:extLst>
          </p:cNvPr>
          <p:cNvSpPr txBox="1"/>
          <p:nvPr/>
        </p:nvSpPr>
        <p:spPr>
          <a:xfrm>
            <a:off x="855679" y="3245304"/>
            <a:ext cx="6030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foreach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B4BAB26-89A4-4C8B-B26B-7A03C9B083A3}"/>
              </a:ext>
            </a:extLst>
          </p:cNvPr>
          <p:cNvCxnSpPr>
            <a:stCxn id="3" idx="3"/>
            <a:endCxn id="20" idx="1"/>
          </p:cNvCxnSpPr>
          <p:nvPr/>
        </p:nvCxnSpPr>
        <p:spPr>
          <a:xfrm flipV="1">
            <a:off x="3257613" y="2378140"/>
            <a:ext cx="436207" cy="90857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EEEA2E-83A1-47E9-96D7-74F944D67C12}"/>
              </a:ext>
            </a:extLst>
          </p:cNvPr>
          <p:cNvSpPr txBox="1"/>
          <p:nvPr/>
        </p:nvSpPr>
        <p:spPr>
          <a:xfrm>
            <a:off x="3257613" y="3244154"/>
            <a:ext cx="5437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arch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0FBAD1-8C5D-4491-AA71-3A2FB3BCB384}"/>
              </a:ext>
            </a:extLst>
          </p:cNvPr>
          <p:cNvSpPr txBox="1"/>
          <p:nvPr/>
        </p:nvSpPr>
        <p:spPr>
          <a:xfrm>
            <a:off x="4141846" y="1446853"/>
            <a:ext cx="121122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Deploy servic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C8973C-7D23-4041-8695-0ED0CD114654}"/>
              </a:ext>
            </a:extLst>
          </p:cNvPr>
          <p:cNvSpPr txBox="1"/>
          <p:nvPr/>
        </p:nvSpPr>
        <p:spPr>
          <a:xfrm>
            <a:off x="4244182" y="2481678"/>
            <a:ext cx="100860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kip service</a:t>
            </a: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74CE34DD-21FD-48C1-B866-447A28E0D4CA}"/>
              </a:ext>
            </a:extLst>
          </p:cNvPr>
          <p:cNvCxnSpPr>
            <a:stCxn id="20" idx="0"/>
            <a:endCxn id="39" idx="2"/>
          </p:cNvCxnSpPr>
          <p:nvPr/>
        </p:nvCxnSpPr>
        <p:spPr>
          <a:xfrm flipV="1">
            <a:off x="4130026" y="1746935"/>
            <a:ext cx="617435" cy="39969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2A06558B-7DB2-4CAE-B6BD-9EDDDF0BED79}"/>
              </a:ext>
            </a:extLst>
          </p:cNvPr>
          <p:cNvCxnSpPr>
            <a:stCxn id="20" idx="0"/>
            <a:endCxn id="40" idx="0"/>
          </p:cNvCxnSpPr>
          <p:nvPr/>
        </p:nvCxnSpPr>
        <p:spPr>
          <a:xfrm>
            <a:off x="4130026" y="2146633"/>
            <a:ext cx="618461" cy="33504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BF009EA-F18A-470B-883B-0B74D5E0AF24}"/>
              </a:ext>
            </a:extLst>
          </p:cNvPr>
          <p:cNvSpPr txBox="1"/>
          <p:nvPr/>
        </p:nvSpPr>
        <p:spPr>
          <a:xfrm>
            <a:off x="5558075" y="633859"/>
            <a:ext cx="3294156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The placement engine runs in the 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Agbot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Continually searches for nodes that are compatible with existing deployment policie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Continually searches for deployed services that have model policy which is compatible with the node where the service is running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Deployment policy is logically ‘</a:t>
            </a:r>
            <a:r>
              <a:rPr lang="en-US" dirty="0" err="1">
                <a:solidFill>
                  <a:prstClr val="black"/>
                </a:solidFill>
                <a:latin typeface="Calibri" panose="020F0502020204030204"/>
              </a:rPr>
              <a:t>AND’ed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 with service policy to form the full set of policy definition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ervice policy is optional, specified by the service author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Compatibility is bidirectional: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the node policy satisfies the combined deployment policy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The combined deployment policy satisfies the node policy</a:t>
            </a:r>
          </a:p>
        </p:txBody>
      </p:sp>
      <p:sp>
        <p:nvSpPr>
          <p:cNvPr id="49" name="Rectangle: Single Corner Snipped 48">
            <a:extLst>
              <a:ext uri="{FF2B5EF4-FFF2-40B4-BE49-F238E27FC236}">
                <a16:creationId xmlns:a16="http://schemas.microsoft.com/office/drawing/2014/main" id="{E4F1D4A5-AE36-4D68-8B61-A1C976328FEC}"/>
              </a:ext>
            </a:extLst>
          </p:cNvPr>
          <p:cNvSpPr/>
          <p:nvPr/>
        </p:nvSpPr>
        <p:spPr>
          <a:xfrm>
            <a:off x="403414" y="4110498"/>
            <a:ext cx="872414" cy="5458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policy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F7AA51CA-D8FE-409B-9E77-327E3D6431E3}"/>
              </a:ext>
            </a:extLst>
          </p:cNvPr>
          <p:cNvCxnSpPr>
            <a:stCxn id="3" idx="1"/>
            <a:endCxn id="49" idx="3"/>
          </p:cNvCxnSpPr>
          <p:nvPr/>
        </p:nvCxnSpPr>
        <p:spPr>
          <a:xfrm rot="10800000" flipV="1">
            <a:off x="839622" y="3286710"/>
            <a:ext cx="752479" cy="82378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9350660B-52AA-4006-9F68-BB0A74872267}"/>
              </a:ext>
            </a:extLst>
          </p:cNvPr>
          <p:cNvSpPr/>
          <p:nvPr/>
        </p:nvSpPr>
        <p:spPr>
          <a:xfrm>
            <a:off x="1734938" y="4103493"/>
            <a:ext cx="858417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Deployed Servic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1D4A57-8E6B-4899-B6A4-5258EAEAABE0}"/>
              </a:ext>
            </a:extLst>
          </p:cNvPr>
          <p:cNvSpPr txBox="1"/>
          <p:nvPr/>
        </p:nvSpPr>
        <p:spPr>
          <a:xfrm>
            <a:off x="1398342" y="4244911"/>
            <a:ext cx="21460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114245E-6300-4ABE-AC3C-0B19A5D10831}"/>
              </a:ext>
            </a:extLst>
          </p:cNvPr>
          <p:cNvSpPr txBox="1"/>
          <p:nvPr/>
        </p:nvSpPr>
        <p:spPr>
          <a:xfrm>
            <a:off x="2599249" y="4207446"/>
            <a:ext cx="709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compatible</a:t>
            </a:r>
          </a:p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with</a:t>
            </a:r>
          </a:p>
        </p:txBody>
      </p:sp>
      <p:sp>
        <p:nvSpPr>
          <p:cNvPr id="57" name="Rectangle: Single Corner Snipped 56">
            <a:extLst>
              <a:ext uri="{FF2B5EF4-FFF2-40B4-BE49-F238E27FC236}">
                <a16:creationId xmlns:a16="http://schemas.microsoft.com/office/drawing/2014/main" id="{AF393061-0035-4652-93FC-CE44720D171A}"/>
              </a:ext>
            </a:extLst>
          </p:cNvPr>
          <p:cNvSpPr/>
          <p:nvPr/>
        </p:nvSpPr>
        <p:spPr>
          <a:xfrm>
            <a:off x="3257613" y="4152724"/>
            <a:ext cx="872413" cy="463014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Node Polic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B04BA28-8C33-4841-83E1-36ACD2C039C2}"/>
              </a:ext>
            </a:extLst>
          </p:cNvPr>
          <p:cNvSpPr txBox="1"/>
          <p:nvPr/>
        </p:nvSpPr>
        <p:spPr>
          <a:xfrm>
            <a:off x="4141846" y="3703402"/>
            <a:ext cx="116469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Deploy model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D2CCBBE-15C7-46C4-95B1-E2E7603FBBCC}"/>
              </a:ext>
            </a:extLst>
          </p:cNvPr>
          <p:cNvSpPr txBox="1"/>
          <p:nvPr/>
        </p:nvSpPr>
        <p:spPr>
          <a:xfrm>
            <a:off x="4244182" y="4738228"/>
            <a:ext cx="96002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Skip model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34B1C11B-7E6D-4F58-A1A2-A5120D31A9E8}"/>
              </a:ext>
            </a:extLst>
          </p:cNvPr>
          <p:cNvCxnSpPr>
            <a:cxnSpLocks/>
            <a:stCxn id="57" idx="0"/>
            <a:endCxn id="58" idx="2"/>
          </p:cNvCxnSpPr>
          <p:nvPr/>
        </p:nvCxnSpPr>
        <p:spPr>
          <a:xfrm flipV="1">
            <a:off x="4130026" y="4003484"/>
            <a:ext cx="594168" cy="38074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5D600959-6E54-485F-A8CE-FB9C46C69238}"/>
              </a:ext>
            </a:extLst>
          </p:cNvPr>
          <p:cNvCxnSpPr>
            <a:cxnSpLocks/>
            <a:stCxn id="57" idx="0"/>
            <a:endCxn id="59" idx="0"/>
          </p:cNvCxnSpPr>
          <p:nvPr/>
        </p:nvCxnSpPr>
        <p:spPr>
          <a:xfrm>
            <a:off x="4130026" y="4384231"/>
            <a:ext cx="594168" cy="3539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86B9E016-3B40-4CE9-AD18-E36E5BFE79FB}"/>
              </a:ext>
            </a:extLst>
          </p:cNvPr>
          <p:cNvSpPr txBox="1"/>
          <p:nvPr/>
        </p:nvSpPr>
        <p:spPr>
          <a:xfrm>
            <a:off x="4480448" y="1869442"/>
            <a:ext cx="3545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y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3A5C421-257D-47F2-8384-40C3D73D1140}"/>
              </a:ext>
            </a:extLst>
          </p:cNvPr>
          <p:cNvSpPr txBox="1"/>
          <p:nvPr/>
        </p:nvSpPr>
        <p:spPr>
          <a:xfrm>
            <a:off x="4467829" y="4053525"/>
            <a:ext cx="3545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ye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0ECF1ED-538A-4B02-AC28-B7ACE75FA2DE}"/>
              </a:ext>
            </a:extLst>
          </p:cNvPr>
          <p:cNvSpPr txBox="1"/>
          <p:nvPr/>
        </p:nvSpPr>
        <p:spPr>
          <a:xfrm>
            <a:off x="4490482" y="4418855"/>
            <a:ext cx="3545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no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12D94E3-1923-4A3A-9AB4-8D7D5936ADBD}"/>
              </a:ext>
            </a:extLst>
          </p:cNvPr>
          <p:cNvSpPr txBox="1"/>
          <p:nvPr/>
        </p:nvSpPr>
        <p:spPr>
          <a:xfrm>
            <a:off x="4496804" y="2188814"/>
            <a:ext cx="3545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no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F43D92BC-779A-4AC2-AF4A-1A0EDE273879}"/>
              </a:ext>
            </a:extLst>
          </p:cNvPr>
          <p:cNvCxnSpPr>
            <a:stCxn id="3" idx="2"/>
            <a:endCxn id="52" idx="0"/>
          </p:cNvCxnSpPr>
          <p:nvPr/>
        </p:nvCxnSpPr>
        <p:spPr>
          <a:xfrm rot="5400000">
            <a:off x="2087884" y="3766520"/>
            <a:ext cx="413234" cy="26071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6116586F-63DB-40D1-87EE-2F4B0796DF9A}"/>
              </a:ext>
            </a:extLst>
          </p:cNvPr>
          <p:cNvSpPr txBox="1"/>
          <p:nvPr/>
        </p:nvSpPr>
        <p:spPr>
          <a:xfrm>
            <a:off x="1894047" y="3691241"/>
            <a:ext cx="5437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arch</a:t>
            </a:r>
          </a:p>
        </p:txBody>
      </p:sp>
    </p:spTree>
    <p:extLst>
      <p:ext uri="{BB962C8B-B14F-4D97-AF65-F5344CB8AC3E}">
        <p14:creationId xmlns:p14="http://schemas.microsoft.com/office/powerpoint/2010/main" val="24974506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: Single Corner Snipped 90">
            <a:extLst>
              <a:ext uri="{FF2B5EF4-FFF2-40B4-BE49-F238E27FC236}">
                <a16:creationId xmlns:a16="http://schemas.microsoft.com/office/drawing/2014/main" id="{DF02D992-6182-4D94-BFE9-92E80B2C9CB7}"/>
              </a:ext>
            </a:extLst>
          </p:cNvPr>
          <p:cNvSpPr/>
          <p:nvPr/>
        </p:nvSpPr>
        <p:spPr>
          <a:xfrm>
            <a:off x="1708432" y="2457742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Policy Definition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4C3E6B6-2007-470B-8319-D05C1FFA2041}"/>
              </a:ext>
            </a:extLst>
          </p:cNvPr>
          <p:cNvSpPr txBox="1"/>
          <p:nvPr/>
        </p:nvSpPr>
        <p:spPr>
          <a:xfrm>
            <a:off x="259080" y="250576"/>
            <a:ext cx="189494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>
                <a:solidFill>
                  <a:prstClr val="black"/>
                </a:solidFill>
                <a:latin typeface="Calibri" panose="020F0502020204030204"/>
              </a:rPr>
              <a:t>Policy Concepts</a:t>
            </a:r>
          </a:p>
        </p:txBody>
      </p:sp>
      <p:sp>
        <p:nvSpPr>
          <p:cNvPr id="60" name="Rectangle: Single Corner Snipped 59">
            <a:extLst>
              <a:ext uri="{FF2B5EF4-FFF2-40B4-BE49-F238E27FC236}">
                <a16:creationId xmlns:a16="http://schemas.microsoft.com/office/drawing/2014/main" id="{74A753D2-5393-4F06-8C2A-F0238F047CE5}"/>
              </a:ext>
            </a:extLst>
          </p:cNvPr>
          <p:cNvSpPr/>
          <p:nvPr/>
        </p:nvSpPr>
        <p:spPr>
          <a:xfrm>
            <a:off x="403414" y="3446941"/>
            <a:ext cx="1305017" cy="1092402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Property</a:t>
            </a:r>
          </a:p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-name: string</a:t>
            </a:r>
          </a:p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-value: string, int, float, </a:t>
            </a:r>
            <a:r>
              <a:rPr lang="en-US" sz="1050" dirty="0" err="1">
                <a:solidFill>
                  <a:prstClr val="black"/>
                </a:solidFill>
                <a:latin typeface="Calibri" panose="020F0502020204030204"/>
              </a:rPr>
              <a:t>boolean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  <a:p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-type: optional string</a:t>
            </a:r>
          </a:p>
        </p:txBody>
      </p:sp>
      <p:sp>
        <p:nvSpPr>
          <p:cNvPr id="61" name="Rectangle: Single Corner Snipped 60">
            <a:extLst>
              <a:ext uri="{FF2B5EF4-FFF2-40B4-BE49-F238E27FC236}">
                <a16:creationId xmlns:a16="http://schemas.microsoft.com/office/drawing/2014/main" id="{36CFC321-8B77-439E-8A06-F0FA37BFBBD9}"/>
              </a:ext>
            </a:extLst>
          </p:cNvPr>
          <p:cNvSpPr/>
          <p:nvPr/>
        </p:nvSpPr>
        <p:spPr>
          <a:xfrm>
            <a:off x="2704474" y="3446942"/>
            <a:ext cx="103434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Constraint</a:t>
            </a:r>
          </a:p>
        </p:txBody>
      </p:sp>
      <p:sp>
        <p:nvSpPr>
          <p:cNvPr id="27" name="Flowchart: Decision 26">
            <a:extLst>
              <a:ext uri="{FF2B5EF4-FFF2-40B4-BE49-F238E27FC236}">
                <a16:creationId xmlns:a16="http://schemas.microsoft.com/office/drawing/2014/main" id="{9A90ED34-7012-470F-9C61-014DE31628C5}"/>
              </a:ext>
            </a:extLst>
          </p:cNvPr>
          <p:cNvSpPr/>
          <p:nvPr/>
        </p:nvSpPr>
        <p:spPr>
          <a:xfrm>
            <a:off x="1489163" y="2657035"/>
            <a:ext cx="219269" cy="88640"/>
          </a:xfrm>
          <a:prstGeom prst="flowChartDecisi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3A7AC6CE-D439-4335-B5CD-65F5217A5D71}"/>
              </a:ext>
            </a:extLst>
          </p:cNvPr>
          <p:cNvCxnSpPr>
            <a:cxnSpLocks/>
            <a:stCxn id="27" idx="1"/>
            <a:endCxn id="60" idx="3"/>
          </p:cNvCxnSpPr>
          <p:nvPr/>
        </p:nvCxnSpPr>
        <p:spPr>
          <a:xfrm rot="10800000" flipV="1">
            <a:off x="1055924" y="2701355"/>
            <a:ext cx="433240" cy="745586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BC7B106-780D-4927-82B1-3B18043FFBB2}"/>
              </a:ext>
            </a:extLst>
          </p:cNvPr>
          <p:cNvSpPr txBox="1"/>
          <p:nvPr/>
        </p:nvSpPr>
        <p:spPr>
          <a:xfrm>
            <a:off x="791801" y="3211638"/>
            <a:ext cx="4385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0..n</a:t>
            </a:r>
          </a:p>
        </p:txBody>
      </p:sp>
      <p:sp>
        <p:nvSpPr>
          <p:cNvPr id="67" name="Flowchart: Decision 66">
            <a:extLst>
              <a:ext uri="{FF2B5EF4-FFF2-40B4-BE49-F238E27FC236}">
                <a16:creationId xmlns:a16="http://schemas.microsoft.com/office/drawing/2014/main" id="{83A49721-EE23-4F5A-856C-F45E2D04A79D}"/>
              </a:ext>
            </a:extLst>
          </p:cNvPr>
          <p:cNvSpPr/>
          <p:nvPr/>
        </p:nvSpPr>
        <p:spPr>
          <a:xfrm>
            <a:off x="2485206" y="2657035"/>
            <a:ext cx="219269" cy="88640"/>
          </a:xfrm>
          <a:prstGeom prst="flowChartDecisi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CC5848C3-91BD-4C6D-942D-90D1A583FDB0}"/>
              </a:ext>
            </a:extLst>
          </p:cNvPr>
          <p:cNvCxnSpPr>
            <a:cxnSpLocks/>
            <a:stCxn id="67" idx="3"/>
            <a:endCxn id="61" idx="3"/>
          </p:cNvCxnSpPr>
          <p:nvPr/>
        </p:nvCxnSpPr>
        <p:spPr>
          <a:xfrm>
            <a:off x="2704474" y="2701355"/>
            <a:ext cx="517172" cy="74558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02183072-DEFB-49EF-A92E-07389466A0E2}"/>
              </a:ext>
            </a:extLst>
          </p:cNvPr>
          <p:cNvSpPr txBox="1"/>
          <p:nvPr/>
        </p:nvSpPr>
        <p:spPr>
          <a:xfrm>
            <a:off x="3198778" y="3196448"/>
            <a:ext cx="4385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0..n</a:t>
            </a:r>
          </a:p>
        </p:txBody>
      </p:sp>
      <p:sp>
        <p:nvSpPr>
          <p:cNvPr id="71" name="Rectangle: Single Corner Snipped 70">
            <a:extLst>
              <a:ext uri="{FF2B5EF4-FFF2-40B4-BE49-F238E27FC236}">
                <a16:creationId xmlns:a16="http://schemas.microsoft.com/office/drawing/2014/main" id="{3FE7EF88-3A51-42EE-BAEE-5E45878C7F72}"/>
              </a:ext>
            </a:extLst>
          </p:cNvPr>
          <p:cNvSpPr/>
          <p:nvPr/>
        </p:nvSpPr>
        <p:spPr>
          <a:xfrm>
            <a:off x="403414" y="1245955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Node Policy</a:t>
            </a:r>
          </a:p>
        </p:txBody>
      </p:sp>
      <p:sp>
        <p:nvSpPr>
          <p:cNvPr id="72" name="Rectangle: Single Corner Snipped 71">
            <a:extLst>
              <a:ext uri="{FF2B5EF4-FFF2-40B4-BE49-F238E27FC236}">
                <a16:creationId xmlns:a16="http://schemas.microsoft.com/office/drawing/2014/main" id="{7E61FB2A-8C42-4C57-BF46-5B0D06DE4D51}"/>
              </a:ext>
            </a:extLst>
          </p:cNvPr>
          <p:cNvSpPr/>
          <p:nvPr/>
        </p:nvSpPr>
        <p:spPr>
          <a:xfrm>
            <a:off x="1708432" y="1245955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Policy</a:t>
            </a:r>
          </a:p>
        </p:txBody>
      </p:sp>
      <p:sp>
        <p:nvSpPr>
          <p:cNvPr id="73" name="Rectangle: Single Corner Snipped 72">
            <a:extLst>
              <a:ext uri="{FF2B5EF4-FFF2-40B4-BE49-F238E27FC236}">
                <a16:creationId xmlns:a16="http://schemas.microsoft.com/office/drawing/2014/main" id="{26638E3E-EBAA-485F-A44F-80DF0CF80A2E}"/>
              </a:ext>
            </a:extLst>
          </p:cNvPr>
          <p:cNvSpPr/>
          <p:nvPr/>
        </p:nvSpPr>
        <p:spPr>
          <a:xfrm>
            <a:off x="3013449" y="1245955"/>
            <a:ext cx="893320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sp>
        <p:nvSpPr>
          <p:cNvPr id="74" name="Rectangle: Single Corner Snipped 73">
            <a:extLst>
              <a:ext uri="{FF2B5EF4-FFF2-40B4-BE49-F238E27FC236}">
                <a16:creationId xmlns:a16="http://schemas.microsoft.com/office/drawing/2014/main" id="{C87F1638-9248-4715-B04F-D45551716FD9}"/>
              </a:ext>
            </a:extLst>
          </p:cNvPr>
          <p:cNvSpPr/>
          <p:nvPr/>
        </p:nvSpPr>
        <p:spPr>
          <a:xfrm>
            <a:off x="4424807" y="1245955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Policy</a:t>
            </a:r>
          </a:p>
        </p:txBody>
      </p:sp>
      <p:sp>
        <p:nvSpPr>
          <p:cNvPr id="85" name="Rectangle: Single Corner Snipped 84">
            <a:extLst>
              <a:ext uri="{FF2B5EF4-FFF2-40B4-BE49-F238E27FC236}">
                <a16:creationId xmlns:a16="http://schemas.microsoft.com/office/drawing/2014/main" id="{8D02F83C-91EA-4CD8-AF75-34DFBEC35AC6}"/>
              </a:ext>
            </a:extLst>
          </p:cNvPr>
          <p:cNvSpPr/>
          <p:nvPr/>
        </p:nvSpPr>
        <p:spPr>
          <a:xfrm>
            <a:off x="2556105" y="4388011"/>
            <a:ext cx="1331080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  <a:latin typeface="Calibri" panose="020F0502020204030204"/>
              </a:rPr>
              <a:t>PropertyExpression</a:t>
            </a:r>
            <a:endParaRPr lang="en-US" sz="10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Isosceles Triangle 48">
            <a:extLst>
              <a:ext uri="{FF2B5EF4-FFF2-40B4-BE49-F238E27FC236}">
                <a16:creationId xmlns:a16="http://schemas.microsoft.com/office/drawing/2014/main" id="{A93F2F84-3FDE-451C-AD7F-45C810A7A71F}"/>
              </a:ext>
            </a:extLst>
          </p:cNvPr>
          <p:cNvSpPr/>
          <p:nvPr/>
        </p:nvSpPr>
        <p:spPr>
          <a:xfrm>
            <a:off x="3147000" y="3934170"/>
            <a:ext cx="149290" cy="96805"/>
          </a:xfrm>
          <a:prstGeom prst="triangl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24016DB-3B90-452D-8BDD-12409E3C900A}"/>
              </a:ext>
            </a:extLst>
          </p:cNvPr>
          <p:cNvCxnSpPr>
            <a:stCxn id="49" idx="3"/>
            <a:endCxn id="85" idx="3"/>
          </p:cNvCxnSpPr>
          <p:nvPr/>
        </p:nvCxnSpPr>
        <p:spPr>
          <a:xfrm flipH="1">
            <a:off x="3221645" y="4030974"/>
            <a:ext cx="1" cy="3570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2B073092-C55E-460A-8F05-F0CED44DF9FB}"/>
              </a:ext>
            </a:extLst>
          </p:cNvPr>
          <p:cNvSpPr txBox="1"/>
          <p:nvPr/>
        </p:nvSpPr>
        <p:spPr>
          <a:xfrm>
            <a:off x="3198778" y="4183951"/>
            <a:ext cx="4385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0..n</a:t>
            </a:r>
          </a:p>
        </p:txBody>
      </p:sp>
      <p:sp>
        <p:nvSpPr>
          <p:cNvPr id="95" name="Flowchart: Decision 94">
            <a:extLst>
              <a:ext uri="{FF2B5EF4-FFF2-40B4-BE49-F238E27FC236}">
                <a16:creationId xmlns:a16="http://schemas.microsoft.com/office/drawing/2014/main" id="{1EB61F8B-5BB3-4ECB-9ECC-144C0FD6CB59}"/>
              </a:ext>
            </a:extLst>
          </p:cNvPr>
          <p:cNvSpPr/>
          <p:nvPr/>
        </p:nvSpPr>
        <p:spPr>
          <a:xfrm>
            <a:off x="1756064" y="2258449"/>
            <a:ext cx="93306" cy="199293"/>
          </a:xfrm>
          <a:prstGeom prst="flowChartDecisi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6" name="Flowchart: Decision 95">
            <a:extLst>
              <a:ext uri="{FF2B5EF4-FFF2-40B4-BE49-F238E27FC236}">
                <a16:creationId xmlns:a16="http://schemas.microsoft.com/office/drawing/2014/main" id="{9BADFB01-32C1-44F8-80BC-CB2A659FF92C}"/>
              </a:ext>
            </a:extLst>
          </p:cNvPr>
          <p:cNvSpPr/>
          <p:nvPr/>
        </p:nvSpPr>
        <p:spPr>
          <a:xfrm>
            <a:off x="2252923" y="2258449"/>
            <a:ext cx="93306" cy="199293"/>
          </a:xfrm>
          <a:prstGeom prst="flowChartDecisi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06A25F14-7179-43FA-B074-87916686C046}"/>
              </a:ext>
            </a:extLst>
          </p:cNvPr>
          <p:cNvCxnSpPr>
            <a:stCxn id="95" idx="0"/>
            <a:endCxn id="71" idx="1"/>
          </p:cNvCxnSpPr>
          <p:nvPr/>
        </p:nvCxnSpPr>
        <p:spPr>
          <a:xfrm rot="16200000" flipV="1">
            <a:off x="1034626" y="1490358"/>
            <a:ext cx="525267" cy="10109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Flowchart: Decision 97">
            <a:extLst>
              <a:ext uri="{FF2B5EF4-FFF2-40B4-BE49-F238E27FC236}">
                <a16:creationId xmlns:a16="http://schemas.microsoft.com/office/drawing/2014/main" id="{4F8354FF-2E20-49E7-A4FD-6004FC61D298}"/>
              </a:ext>
            </a:extLst>
          </p:cNvPr>
          <p:cNvSpPr/>
          <p:nvPr/>
        </p:nvSpPr>
        <p:spPr>
          <a:xfrm>
            <a:off x="2090801" y="2258449"/>
            <a:ext cx="93306" cy="199293"/>
          </a:xfrm>
          <a:prstGeom prst="flowChartDecisi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9" name="Flowchart: Decision 98">
            <a:extLst>
              <a:ext uri="{FF2B5EF4-FFF2-40B4-BE49-F238E27FC236}">
                <a16:creationId xmlns:a16="http://schemas.microsoft.com/office/drawing/2014/main" id="{4187C5C6-9CD3-4B79-B9D8-F006154C1FF9}"/>
              </a:ext>
            </a:extLst>
          </p:cNvPr>
          <p:cNvSpPr/>
          <p:nvPr/>
        </p:nvSpPr>
        <p:spPr>
          <a:xfrm>
            <a:off x="1928680" y="2258449"/>
            <a:ext cx="93306" cy="199293"/>
          </a:xfrm>
          <a:prstGeom prst="flowChartDecision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002C3DAA-4211-4D5A-9267-CD922A8D1203}"/>
              </a:ext>
            </a:extLst>
          </p:cNvPr>
          <p:cNvCxnSpPr>
            <a:stCxn id="72" idx="1"/>
            <a:endCxn id="99" idx="0"/>
          </p:cNvCxnSpPr>
          <p:nvPr/>
        </p:nvCxnSpPr>
        <p:spPr>
          <a:xfrm rot="5400000">
            <a:off x="1773443" y="1935073"/>
            <a:ext cx="525267" cy="12148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7EA51FBA-1591-4996-AC52-10490B882E92}"/>
              </a:ext>
            </a:extLst>
          </p:cNvPr>
          <p:cNvCxnSpPr>
            <a:stCxn id="73" idx="1"/>
            <a:endCxn id="98" idx="0"/>
          </p:cNvCxnSpPr>
          <p:nvPr/>
        </p:nvCxnSpPr>
        <p:spPr>
          <a:xfrm rot="5400000">
            <a:off x="2536148" y="1334489"/>
            <a:ext cx="525267" cy="1322654"/>
          </a:xfrm>
          <a:prstGeom prst="bentConnector3">
            <a:avLst>
              <a:gd name="adj1" fmla="val 2779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0D86012E-A8F1-4881-B37D-F74455E1777D}"/>
              </a:ext>
            </a:extLst>
          </p:cNvPr>
          <p:cNvCxnSpPr>
            <a:stCxn id="74" idx="1"/>
            <a:endCxn id="96" idx="0"/>
          </p:cNvCxnSpPr>
          <p:nvPr/>
        </p:nvCxnSpPr>
        <p:spPr>
          <a:xfrm rot="5400000">
            <a:off x="3293752" y="739007"/>
            <a:ext cx="525267" cy="251361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2999F61C-B865-4BD7-843B-D2784C47866D}"/>
              </a:ext>
            </a:extLst>
          </p:cNvPr>
          <p:cNvSpPr txBox="1"/>
          <p:nvPr/>
        </p:nvSpPr>
        <p:spPr>
          <a:xfrm>
            <a:off x="590836" y="1733180"/>
            <a:ext cx="2009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AF3DAA1-7CB2-42AB-9E69-194349DF9C07}"/>
              </a:ext>
            </a:extLst>
          </p:cNvPr>
          <p:cNvSpPr txBox="1"/>
          <p:nvPr/>
        </p:nvSpPr>
        <p:spPr>
          <a:xfrm>
            <a:off x="1940245" y="1707704"/>
            <a:ext cx="2009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C354E4E-45E7-427C-8F8E-38695878846C}"/>
              </a:ext>
            </a:extLst>
          </p:cNvPr>
          <p:cNvSpPr txBox="1"/>
          <p:nvPr/>
        </p:nvSpPr>
        <p:spPr>
          <a:xfrm>
            <a:off x="3305797" y="1707705"/>
            <a:ext cx="2009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15E435C-9E45-4859-8C9F-B82ED4B46AA8}"/>
              </a:ext>
            </a:extLst>
          </p:cNvPr>
          <p:cNvSpPr txBox="1"/>
          <p:nvPr/>
        </p:nvSpPr>
        <p:spPr>
          <a:xfrm>
            <a:off x="4612228" y="1708981"/>
            <a:ext cx="2009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11" name="Rectangle: Single Corner Snipped 110">
            <a:extLst>
              <a:ext uri="{FF2B5EF4-FFF2-40B4-BE49-F238E27FC236}">
                <a16:creationId xmlns:a16="http://schemas.microsoft.com/office/drawing/2014/main" id="{59003B30-8B79-4775-951E-A82E997BEA74}"/>
              </a:ext>
            </a:extLst>
          </p:cNvPr>
          <p:cNvSpPr/>
          <p:nvPr/>
        </p:nvSpPr>
        <p:spPr>
          <a:xfrm>
            <a:off x="3013449" y="259973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407BF99D-24C9-4C49-A9A2-A6059626AD69}"/>
              </a:ext>
            </a:extLst>
          </p:cNvPr>
          <p:cNvCxnSpPr>
            <a:stCxn id="111" idx="2"/>
            <a:endCxn id="72" idx="3"/>
          </p:cNvCxnSpPr>
          <p:nvPr/>
        </p:nvCxnSpPr>
        <p:spPr>
          <a:xfrm rot="10800000" flipV="1">
            <a:off x="2096820" y="503587"/>
            <a:ext cx="916630" cy="7423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88CC2B10-9EA1-4195-BBEB-1D8CD7BA3AB1}"/>
              </a:ext>
            </a:extLst>
          </p:cNvPr>
          <p:cNvSpPr txBox="1"/>
          <p:nvPr/>
        </p:nvSpPr>
        <p:spPr>
          <a:xfrm>
            <a:off x="1814476" y="1038206"/>
            <a:ext cx="4713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..1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56E6B1A-7EE1-4C55-8FAE-82850F3B185E}"/>
              </a:ext>
            </a:extLst>
          </p:cNvPr>
          <p:cNvSpPr txBox="1"/>
          <p:nvPr/>
        </p:nvSpPr>
        <p:spPr>
          <a:xfrm>
            <a:off x="2727398" y="295837"/>
            <a:ext cx="4713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..1</a:t>
            </a:r>
          </a:p>
        </p:txBody>
      </p:sp>
      <p:sp>
        <p:nvSpPr>
          <p:cNvPr id="114" name="Flowchart: Decision 113">
            <a:extLst>
              <a:ext uri="{FF2B5EF4-FFF2-40B4-BE49-F238E27FC236}">
                <a16:creationId xmlns:a16="http://schemas.microsoft.com/office/drawing/2014/main" id="{72F5F429-BE75-4B5D-ADBB-1D8123122FAE}"/>
              </a:ext>
            </a:extLst>
          </p:cNvPr>
          <p:cNvSpPr/>
          <p:nvPr/>
        </p:nvSpPr>
        <p:spPr>
          <a:xfrm>
            <a:off x="3355922" y="1042507"/>
            <a:ext cx="93306" cy="199293"/>
          </a:xfrm>
          <a:prstGeom prst="flowChartDecisi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C5B05D7-F7C4-48DD-9C16-57C818CF6006}"/>
              </a:ext>
            </a:extLst>
          </p:cNvPr>
          <p:cNvCxnSpPr>
            <a:stCxn id="114" idx="0"/>
            <a:endCxn id="111" idx="1"/>
          </p:cNvCxnSpPr>
          <p:nvPr/>
        </p:nvCxnSpPr>
        <p:spPr>
          <a:xfrm flipH="1" flipV="1">
            <a:off x="3401836" y="747200"/>
            <a:ext cx="740" cy="295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Flowchart: Decision 116">
            <a:extLst>
              <a:ext uri="{FF2B5EF4-FFF2-40B4-BE49-F238E27FC236}">
                <a16:creationId xmlns:a16="http://schemas.microsoft.com/office/drawing/2014/main" id="{1F7F5E0A-4555-43DC-A5F2-26CE03C4E384}"/>
              </a:ext>
            </a:extLst>
          </p:cNvPr>
          <p:cNvSpPr/>
          <p:nvPr/>
        </p:nvSpPr>
        <p:spPr>
          <a:xfrm>
            <a:off x="4725974" y="1034561"/>
            <a:ext cx="93306" cy="199293"/>
          </a:xfrm>
          <a:prstGeom prst="flowChartDecisi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8C5EF47B-B468-49E5-8568-07F9957E6AE7}"/>
              </a:ext>
            </a:extLst>
          </p:cNvPr>
          <p:cNvCxnSpPr>
            <a:stCxn id="117" idx="0"/>
            <a:endCxn id="111" idx="0"/>
          </p:cNvCxnSpPr>
          <p:nvPr/>
        </p:nvCxnSpPr>
        <p:spPr>
          <a:xfrm rot="16200000" flipV="1">
            <a:off x="4015938" y="277872"/>
            <a:ext cx="530975" cy="982405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FEAF389E-DEA3-45AF-AC99-14CF01E0C4BE}"/>
              </a:ext>
            </a:extLst>
          </p:cNvPr>
          <p:cNvSpPr txBox="1"/>
          <p:nvPr/>
        </p:nvSpPr>
        <p:spPr>
          <a:xfrm>
            <a:off x="4060912" y="4259040"/>
            <a:ext cx="419201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Property expression form:</a:t>
            </a:r>
          </a:p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&lt;property-name&gt; &lt;comparison-operator&gt; &lt;property-value&gt; [&lt;</a:t>
            </a:r>
            <a:r>
              <a:rPr lang="en-US" sz="900" dirty="0" err="1">
                <a:solidFill>
                  <a:prstClr val="black"/>
                </a:solidFill>
                <a:latin typeface="Calibri" panose="020F0502020204030204"/>
              </a:rPr>
              <a:t>boolean</a:t>
            </a: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-operator&gt;] …</a:t>
            </a:r>
          </a:p>
          <a:p>
            <a:endParaRPr lang="en-US" sz="90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Parentheses may be used to provide precedence order.</a:t>
            </a:r>
          </a:p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Comparison operator depends on property type.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E45AC54A-2C53-41F1-8E77-42CD3587A0A5}"/>
              </a:ext>
            </a:extLst>
          </p:cNvPr>
          <p:cNvSpPr txBox="1"/>
          <p:nvPr/>
        </p:nvSpPr>
        <p:spPr>
          <a:xfrm>
            <a:off x="3786701" y="320912"/>
            <a:ext cx="32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..n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C9BF2B2-4B04-4D53-86E6-0C911E6AB3E2}"/>
              </a:ext>
            </a:extLst>
          </p:cNvPr>
          <p:cNvSpPr txBox="1"/>
          <p:nvPr/>
        </p:nvSpPr>
        <p:spPr>
          <a:xfrm>
            <a:off x="3371514" y="707411"/>
            <a:ext cx="32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1..n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CF613DD-EB8C-4ACA-A1B2-8D13F2C4A5C7}"/>
              </a:ext>
            </a:extLst>
          </p:cNvPr>
          <p:cNvSpPr txBox="1"/>
          <p:nvPr/>
        </p:nvSpPr>
        <p:spPr>
          <a:xfrm>
            <a:off x="5328608" y="722158"/>
            <a:ext cx="36541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In English: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policy definition is composed of 0 or more properties, and 0 or more constraints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Property has name, type (optional), and value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Constraint has zero or more property expressions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node, service, deployment and model policy each have 1 policy definition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service definition and a service policy are independent entities with a 1..1 relationship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deployment policy and a model policy are independent entities that each refer to a service definition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deployment policy may refer to more than 1 version of a service to denote service rollback instructions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Calibri" panose="020F0502020204030204"/>
              </a:rPr>
              <a:t>A model policy may refer to more than 1 service definition, for each service the model is going to be deployed with.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endParaRPr lang="en-US" sz="9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335695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068B8F0-F0F1-49C8-BED9-C00C7A588337}"/>
              </a:ext>
            </a:extLst>
          </p:cNvPr>
          <p:cNvSpPr/>
          <p:nvPr/>
        </p:nvSpPr>
        <p:spPr>
          <a:xfrm>
            <a:off x="659659" y="995305"/>
            <a:ext cx="2336729" cy="11769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586E0A3F-E5C2-4344-AFD6-BEDDB0D4A15C}"/>
              </a:ext>
            </a:extLst>
          </p:cNvPr>
          <p:cNvSpPr/>
          <p:nvPr/>
        </p:nvSpPr>
        <p:spPr>
          <a:xfrm>
            <a:off x="3934442" y="1024710"/>
            <a:ext cx="2336729" cy="28968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4C3E6B6-2007-470B-8319-D05C1FFA2041}"/>
              </a:ext>
            </a:extLst>
          </p:cNvPr>
          <p:cNvSpPr txBox="1"/>
          <p:nvPr/>
        </p:nvSpPr>
        <p:spPr>
          <a:xfrm>
            <a:off x="1420708" y="164931"/>
            <a:ext cx="7697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>
                <a:solidFill>
                  <a:prstClr val="black"/>
                </a:solidFill>
                <a:latin typeface="Calibri" panose="020F0502020204030204"/>
              </a:rPr>
              <a:t>MMS</a:t>
            </a:r>
          </a:p>
        </p:txBody>
      </p:sp>
      <p:sp>
        <p:nvSpPr>
          <p:cNvPr id="71" name="Rectangle: Single Corner Snipped 70">
            <a:extLst>
              <a:ext uri="{FF2B5EF4-FFF2-40B4-BE49-F238E27FC236}">
                <a16:creationId xmlns:a16="http://schemas.microsoft.com/office/drawing/2014/main" id="{3FE7EF88-3A51-42EE-BAEE-5E45878C7F72}"/>
              </a:ext>
            </a:extLst>
          </p:cNvPr>
          <p:cNvSpPr/>
          <p:nvPr/>
        </p:nvSpPr>
        <p:spPr>
          <a:xfrm>
            <a:off x="4889197" y="3310406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Node Policy</a:t>
            </a:r>
          </a:p>
        </p:txBody>
      </p:sp>
      <p:sp>
        <p:nvSpPr>
          <p:cNvPr id="72" name="Rectangle: Single Corner Snipped 71">
            <a:extLst>
              <a:ext uri="{FF2B5EF4-FFF2-40B4-BE49-F238E27FC236}">
                <a16:creationId xmlns:a16="http://schemas.microsoft.com/office/drawing/2014/main" id="{7E61FB2A-8C42-4C57-BF46-5B0D06DE4D51}"/>
              </a:ext>
            </a:extLst>
          </p:cNvPr>
          <p:cNvSpPr/>
          <p:nvPr/>
        </p:nvSpPr>
        <p:spPr>
          <a:xfrm>
            <a:off x="4889197" y="1438421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Policy</a:t>
            </a:r>
          </a:p>
        </p:txBody>
      </p:sp>
      <p:sp>
        <p:nvSpPr>
          <p:cNvPr id="73" name="Rectangle: Single Corner Snipped 72">
            <a:extLst>
              <a:ext uri="{FF2B5EF4-FFF2-40B4-BE49-F238E27FC236}">
                <a16:creationId xmlns:a16="http://schemas.microsoft.com/office/drawing/2014/main" id="{26638E3E-EBAA-485F-A44F-80DF0CF80A2E}"/>
              </a:ext>
            </a:extLst>
          </p:cNvPr>
          <p:cNvSpPr/>
          <p:nvPr/>
        </p:nvSpPr>
        <p:spPr>
          <a:xfrm>
            <a:off x="4112422" y="2412875"/>
            <a:ext cx="922442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Deployment Policy</a:t>
            </a:r>
          </a:p>
        </p:txBody>
      </p:sp>
      <p:sp>
        <p:nvSpPr>
          <p:cNvPr id="111" name="Rectangle: Single Corner Snipped 110">
            <a:extLst>
              <a:ext uri="{FF2B5EF4-FFF2-40B4-BE49-F238E27FC236}">
                <a16:creationId xmlns:a16="http://schemas.microsoft.com/office/drawing/2014/main" id="{59003B30-8B79-4775-951E-A82E997BEA74}"/>
              </a:ext>
            </a:extLst>
          </p:cNvPr>
          <p:cNvSpPr/>
          <p:nvPr/>
        </p:nvSpPr>
        <p:spPr>
          <a:xfrm>
            <a:off x="4112423" y="1236134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Defin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BD2F3C-DC0B-4D50-ABB2-07AA5D7AAB6B}"/>
              </a:ext>
            </a:extLst>
          </p:cNvPr>
          <p:cNvSpPr txBox="1"/>
          <p:nvPr/>
        </p:nvSpPr>
        <p:spPr>
          <a:xfrm>
            <a:off x="4946911" y="1066953"/>
            <a:ext cx="126654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xchange</a:t>
            </a:r>
          </a:p>
        </p:txBody>
      </p:sp>
      <p:sp>
        <p:nvSpPr>
          <p:cNvPr id="46" name="Rectangle: Single Corner Snipped 45">
            <a:extLst>
              <a:ext uri="{FF2B5EF4-FFF2-40B4-BE49-F238E27FC236}">
                <a16:creationId xmlns:a16="http://schemas.microsoft.com/office/drawing/2014/main" id="{29C86A18-89FA-4BE1-AFD9-F2F30DCAFBA7}"/>
              </a:ext>
            </a:extLst>
          </p:cNvPr>
          <p:cNvSpPr/>
          <p:nvPr/>
        </p:nvSpPr>
        <p:spPr>
          <a:xfrm>
            <a:off x="4112422" y="3121468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Nod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A4B0BA-F6FC-4E61-A902-11073245DE4D}"/>
              </a:ext>
            </a:extLst>
          </p:cNvPr>
          <p:cNvSpPr txBox="1"/>
          <p:nvPr/>
        </p:nvSpPr>
        <p:spPr>
          <a:xfrm>
            <a:off x="1936215" y="1023524"/>
            <a:ext cx="96427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CSS</a:t>
            </a:r>
          </a:p>
        </p:txBody>
      </p:sp>
      <p:sp>
        <p:nvSpPr>
          <p:cNvPr id="50" name="Rectangle: Single Corner Snipped 49">
            <a:extLst>
              <a:ext uri="{FF2B5EF4-FFF2-40B4-BE49-F238E27FC236}">
                <a16:creationId xmlns:a16="http://schemas.microsoft.com/office/drawing/2014/main" id="{A24AD560-E827-4FBE-8651-B93441BE54C7}"/>
              </a:ext>
            </a:extLst>
          </p:cNvPr>
          <p:cNvSpPr/>
          <p:nvPr/>
        </p:nvSpPr>
        <p:spPr>
          <a:xfrm>
            <a:off x="946513" y="1272303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2B64B359-CEE9-46C9-9A9E-2D4B81746876}"/>
              </a:ext>
            </a:extLst>
          </p:cNvPr>
          <p:cNvCxnSpPr>
            <a:stCxn id="74" idx="0"/>
            <a:endCxn id="111" idx="2"/>
          </p:cNvCxnSpPr>
          <p:nvPr/>
        </p:nvCxnSpPr>
        <p:spPr>
          <a:xfrm flipV="1">
            <a:off x="2415993" y="1479748"/>
            <a:ext cx="1696430" cy="24964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1CBEF8E-4A0B-4007-A13B-1CE22E69BB7D}"/>
              </a:ext>
            </a:extLst>
          </p:cNvPr>
          <p:cNvSpPr/>
          <p:nvPr/>
        </p:nvSpPr>
        <p:spPr>
          <a:xfrm>
            <a:off x="588565" y="3121468"/>
            <a:ext cx="2487300" cy="1709840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36D4CE-BF4C-4C15-954C-C26798CE372F}"/>
              </a:ext>
            </a:extLst>
          </p:cNvPr>
          <p:cNvSpPr txBox="1"/>
          <p:nvPr/>
        </p:nvSpPr>
        <p:spPr>
          <a:xfrm>
            <a:off x="1572058" y="3115465"/>
            <a:ext cx="6772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Node</a:t>
            </a:r>
          </a:p>
        </p:txBody>
      </p:sp>
      <p:sp>
        <p:nvSpPr>
          <p:cNvPr id="8" name="Explosion: 8 Points 7">
            <a:extLst>
              <a:ext uri="{FF2B5EF4-FFF2-40B4-BE49-F238E27FC236}">
                <a16:creationId xmlns:a16="http://schemas.microsoft.com/office/drawing/2014/main" id="{A6BA743F-523C-4E11-890C-8798CA15C72A}"/>
              </a:ext>
            </a:extLst>
          </p:cNvPr>
          <p:cNvSpPr/>
          <p:nvPr/>
        </p:nvSpPr>
        <p:spPr>
          <a:xfrm>
            <a:off x="6603002" y="76701"/>
            <a:ext cx="1941176" cy="1504104"/>
          </a:xfrm>
          <a:prstGeom prst="irregularSeal1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Only supported for edge device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591EF31-DF7B-4329-9790-196FDC490FD2}"/>
              </a:ext>
            </a:extLst>
          </p:cNvPr>
          <p:cNvSpPr/>
          <p:nvPr/>
        </p:nvSpPr>
        <p:spPr>
          <a:xfrm>
            <a:off x="738269" y="3489025"/>
            <a:ext cx="1003404" cy="48722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SS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A1BE25D1-BFB0-4117-8D27-08D7E1B34625}"/>
              </a:ext>
            </a:extLst>
          </p:cNvPr>
          <p:cNvCxnSpPr>
            <a:stCxn id="30" idx="0"/>
            <a:endCxn id="47" idx="2"/>
          </p:cNvCxnSpPr>
          <p:nvPr/>
        </p:nvCxnSpPr>
        <p:spPr>
          <a:xfrm rot="5400000" flipH="1" flipV="1">
            <a:off x="875592" y="2536594"/>
            <a:ext cx="1316810" cy="58805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260F526-A46F-4041-B3BF-41334C71EF1E}"/>
              </a:ext>
            </a:extLst>
          </p:cNvPr>
          <p:cNvSpPr/>
          <p:nvPr/>
        </p:nvSpPr>
        <p:spPr>
          <a:xfrm>
            <a:off x="2035464" y="3452721"/>
            <a:ext cx="858417" cy="5598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Edge Service1</a:t>
            </a:r>
          </a:p>
        </p:txBody>
      </p:sp>
      <p:sp>
        <p:nvSpPr>
          <p:cNvPr id="34" name="Rectangle: Single Corner Snipped 33">
            <a:extLst>
              <a:ext uri="{FF2B5EF4-FFF2-40B4-BE49-F238E27FC236}">
                <a16:creationId xmlns:a16="http://schemas.microsoft.com/office/drawing/2014/main" id="{EB652717-447C-4DE5-BB27-F0DD7A21A8D5}"/>
              </a:ext>
            </a:extLst>
          </p:cNvPr>
          <p:cNvSpPr/>
          <p:nvPr/>
        </p:nvSpPr>
        <p:spPr>
          <a:xfrm>
            <a:off x="2299927" y="3926455"/>
            <a:ext cx="482147" cy="21841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Model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6FA8FEDA-44F6-4710-9255-A047CE904626}"/>
              </a:ext>
            </a:extLst>
          </p:cNvPr>
          <p:cNvSpPr/>
          <p:nvPr/>
        </p:nvSpPr>
        <p:spPr>
          <a:xfrm>
            <a:off x="904069" y="4256896"/>
            <a:ext cx="671804" cy="429209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" name="Rectangle: Single Corner Snipped 40">
            <a:extLst>
              <a:ext uri="{FF2B5EF4-FFF2-40B4-BE49-F238E27FC236}">
                <a16:creationId xmlns:a16="http://schemas.microsoft.com/office/drawing/2014/main" id="{83791418-9D4E-482F-BB51-13A9F4F8E9AF}"/>
              </a:ext>
            </a:extLst>
          </p:cNvPr>
          <p:cNvSpPr/>
          <p:nvPr/>
        </p:nvSpPr>
        <p:spPr>
          <a:xfrm>
            <a:off x="998896" y="4412318"/>
            <a:ext cx="482147" cy="218418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Model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C443C05-9727-4DAD-8A93-F6D7F183F331}"/>
              </a:ext>
            </a:extLst>
          </p:cNvPr>
          <p:cNvCxnSpPr>
            <a:cxnSpLocks/>
            <a:stCxn id="33" idx="1"/>
            <a:endCxn id="30" idx="3"/>
          </p:cNvCxnSpPr>
          <p:nvPr/>
        </p:nvCxnSpPr>
        <p:spPr>
          <a:xfrm flipH="1" flipV="1">
            <a:off x="1741672" y="3732639"/>
            <a:ext cx="293792" cy="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439CEF7-3C68-4111-A654-41685C050BE6}"/>
              </a:ext>
            </a:extLst>
          </p:cNvPr>
          <p:cNvCxnSpPr>
            <a:cxnSpLocks/>
            <a:stCxn id="41" idx="0"/>
            <a:endCxn id="34" idx="1"/>
          </p:cNvCxnSpPr>
          <p:nvPr/>
        </p:nvCxnSpPr>
        <p:spPr>
          <a:xfrm flipV="1">
            <a:off x="1481043" y="4144873"/>
            <a:ext cx="1059957" cy="376655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4A75A8C9-7F3C-4381-8CED-CA2A3D9531FA}"/>
              </a:ext>
            </a:extLst>
          </p:cNvPr>
          <p:cNvSpPr txBox="1"/>
          <p:nvPr/>
        </p:nvSpPr>
        <p:spPr>
          <a:xfrm>
            <a:off x="6442745" y="2127694"/>
            <a:ext cx="2405418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policy refers to the service(s) that the model is associated with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objects are deployed where the service(s) is running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policy can subset the deployment targets by using a policy constraint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Service implementations use the ESS API (hosted by the agent) to poll for model object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objects are downloaded by the agent BEFORE the target service is told that there is a model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deployment via policy enables model isolation by service. Only the service(s) associated with a model object have visibility to the model object.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7AB3AFF8-553F-435D-906A-4EC60DB016AB}"/>
              </a:ext>
            </a:extLst>
          </p:cNvPr>
          <p:cNvCxnSpPr>
            <a:cxnSpLocks/>
            <a:stCxn id="27" idx="3"/>
            <a:endCxn id="46" idx="2"/>
          </p:cNvCxnSpPr>
          <p:nvPr/>
        </p:nvCxnSpPr>
        <p:spPr>
          <a:xfrm flipV="1">
            <a:off x="3075865" y="3365082"/>
            <a:ext cx="1036557" cy="61130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2C92C1BA-E4FB-4FA5-AE82-94B3FCCFA2EC}"/>
              </a:ext>
            </a:extLst>
          </p:cNvPr>
          <p:cNvCxnSpPr>
            <a:stCxn id="33" idx="0"/>
            <a:endCxn id="111" idx="1"/>
          </p:cNvCxnSpPr>
          <p:nvPr/>
        </p:nvCxnSpPr>
        <p:spPr>
          <a:xfrm rot="5400000" flipH="1" flipV="1">
            <a:off x="2618062" y="1569973"/>
            <a:ext cx="1729360" cy="2036138"/>
          </a:xfrm>
          <a:prstGeom prst="bentConnector3">
            <a:avLst>
              <a:gd name="adj1" fmla="val 6746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27619DF-123C-48F8-B819-B9C48631F654}"/>
              </a:ext>
            </a:extLst>
          </p:cNvPr>
          <p:cNvCxnSpPr>
            <a:cxnSpLocks/>
            <a:stCxn id="30" idx="2"/>
            <a:endCxn id="14" idx="1"/>
          </p:cNvCxnSpPr>
          <p:nvPr/>
        </p:nvCxnSpPr>
        <p:spPr>
          <a:xfrm>
            <a:off x="1239971" y="3976253"/>
            <a:ext cx="0" cy="28064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: Single Corner Snipped 73">
            <a:extLst>
              <a:ext uri="{FF2B5EF4-FFF2-40B4-BE49-F238E27FC236}">
                <a16:creationId xmlns:a16="http://schemas.microsoft.com/office/drawing/2014/main" id="{C87F1638-9248-4715-B04F-D45551716FD9}"/>
              </a:ext>
            </a:extLst>
          </p:cNvPr>
          <p:cNvSpPr/>
          <p:nvPr/>
        </p:nvSpPr>
        <p:spPr>
          <a:xfrm>
            <a:off x="1639219" y="1485781"/>
            <a:ext cx="776774" cy="487227"/>
          </a:xfrm>
          <a:prstGeom prst="snip1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Model Policy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6687EDC9-7257-4547-844C-8D8AE4C0DE38}"/>
              </a:ext>
            </a:extLst>
          </p:cNvPr>
          <p:cNvSpPr/>
          <p:nvPr/>
        </p:nvSpPr>
        <p:spPr>
          <a:xfrm>
            <a:off x="312193" y="649975"/>
            <a:ext cx="3088196" cy="438980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28120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ight Arrow 20">
            <a:extLst>
              <a:ext uri="{FF2B5EF4-FFF2-40B4-BE49-F238E27FC236}">
                <a16:creationId xmlns:a16="http://schemas.microsoft.com/office/drawing/2014/main" id="{FABF6C3D-B5D0-9E46-B10A-2D7ACEDA9BB9}"/>
              </a:ext>
            </a:extLst>
          </p:cNvPr>
          <p:cNvSpPr/>
          <p:nvPr/>
        </p:nvSpPr>
        <p:spPr>
          <a:xfrm>
            <a:off x="2616199" y="1695389"/>
            <a:ext cx="3560484" cy="264715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EC6CA8-A37E-C644-8337-E85FEFC14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Setu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9B6AB1-DC9F-994C-BC3D-E366F814FDF2}"/>
              </a:ext>
            </a:extLst>
          </p:cNvPr>
          <p:cNvSpPr/>
          <p:nvPr/>
        </p:nvSpPr>
        <p:spPr>
          <a:xfrm>
            <a:off x="6176682" y="1407457"/>
            <a:ext cx="2205318" cy="3424519"/>
          </a:xfrm>
          <a:prstGeom prst="rect">
            <a:avLst/>
          </a:prstGeom>
          <a:solidFill>
            <a:schemeClr val="accent2">
              <a:lumMod val="75000"/>
              <a:alpha val="31000"/>
            </a:schemeClr>
          </a:solidFill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7FC06C-5637-DE41-A28E-EAB9DCA1CCFC}"/>
              </a:ext>
            </a:extLst>
          </p:cNvPr>
          <p:cNvSpPr/>
          <p:nvPr/>
        </p:nvSpPr>
        <p:spPr>
          <a:xfrm>
            <a:off x="950259" y="1577788"/>
            <a:ext cx="1665941" cy="2376767"/>
          </a:xfrm>
          <a:prstGeom prst="rect">
            <a:avLst/>
          </a:prstGeom>
          <a:solidFill>
            <a:schemeClr val="accent6">
              <a:lumMod val="50000"/>
              <a:alpha val="33000"/>
            </a:schemeClr>
          </a:solidFill>
          <a:ln w="381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CF2880-D709-3440-B11D-A035846FA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9630" y="6212167"/>
            <a:ext cx="431800" cy="431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F6FBA0-5CDE-A240-9919-CD37DF555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0741" y="6087291"/>
            <a:ext cx="457200" cy="3429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62FB12D-2DB2-C646-AC99-6DBCBAAA14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7247" y="5243979"/>
            <a:ext cx="546100" cy="5207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FB36DBC-24C0-4149-B5F4-F862E2736F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8306" y="5288429"/>
            <a:ext cx="469900" cy="4318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709B2D1-B00C-C344-A5CD-A0172D4377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587" y="2315275"/>
            <a:ext cx="1340055" cy="7534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41691E2-A2D1-5A4B-8FF9-E7679E405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9554" y="3158342"/>
            <a:ext cx="1884498" cy="14916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3DF5094-414D-3B43-B17D-17FC4C3E8BC8}"/>
              </a:ext>
            </a:extLst>
          </p:cNvPr>
          <p:cNvCxnSpPr>
            <a:cxnSpLocks/>
          </p:cNvCxnSpPr>
          <p:nvPr/>
        </p:nvCxnSpPr>
        <p:spPr>
          <a:xfrm flipH="1" flipV="1">
            <a:off x="2749636" y="3128191"/>
            <a:ext cx="828948" cy="1069624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A486D34-9A5A-014F-8F9B-1C5DD7D1BAE4}"/>
              </a:ext>
            </a:extLst>
          </p:cNvPr>
          <p:cNvSpPr txBox="1"/>
          <p:nvPr/>
        </p:nvSpPr>
        <p:spPr>
          <a:xfrm>
            <a:off x="3159150" y="3417957"/>
            <a:ext cx="41069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ssh</a:t>
            </a:r>
            <a:endParaRPr lang="en-US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DDB80EF-5BDC-4340-982A-7A2A777622B4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4618031" y="3904184"/>
            <a:ext cx="1181523" cy="370530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8" name="Picture 6" descr="File:Workstation.svg">
            <a:extLst>
              <a:ext uri="{FF2B5EF4-FFF2-40B4-BE49-F238E27FC236}">
                <a16:creationId xmlns:a16="http://schemas.microsoft.com/office/drawing/2014/main" id="{8FC410B3-EFD6-1740-BBBA-9014DF4BE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330" y="3951849"/>
            <a:ext cx="1317221" cy="138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DAC734D-E923-C043-B166-769AFBDB61DC}"/>
              </a:ext>
            </a:extLst>
          </p:cNvPr>
          <p:cNvSpPr txBox="1"/>
          <p:nvPr/>
        </p:nvSpPr>
        <p:spPr>
          <a:xfrm>
            <a:off x="4734553" y="3801808"/>
            <a:ext cx="54527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ttps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C60137A-5342-6548-AC2F-FD84F4E66889}"/>
              </a:ext>
            </a:extLst>
          </p:cNvPr>
          <p:cNvCxnSpPr>
            <a:cxnSpLocks/>
          </p:cNvCxnSpPr>
          <p:nvPr/>
        </p:nvCxnSpPr>
        <p:spPr>
          <a:xfrm flipV="1">
            <a:off x="2799642" y="2830438"/>
            <a:ext cx="3377039" cy="11583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A33E74A-2EA8-534D-837C-78B163225FF0}"/>
              </a:ext>
            </a:extLst>
          </p:cNvPr>
          <p:cNvSpPr txBox="1"/>
          <p:nvPr/>
        </p:nvSpPr>
        <p:spPr>
          <a:xfrm>
            <a:off x="3443177" y="2541939"/>
            <a:ext cx="74411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cloudctl</a:t>
            </a:r>
            <a:endParaRPr lang="en-US" dirty="0"/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AF86D8A-F862-3543-AC0C-31A64DA6C5CC}"/>
              </a:ext>
            </a:extLst>
          </p:cNvPr>
          <p:cNvCxnSpPr>
            <a:cxnSpLocks/>
          </p:cNvCxnSpPr>
          <p:nvPr/>
        </p:nvCxnSpPr>
        <p:spPr>
          <a:xfrm>
            <a:off x="2749636" y="2470787"/>
            <a:ext cx="3427046" cy="0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AA995FB1-C9A9-4E41-9004-EE7B54234435}"/>
              </a:ext>
            </a:extLst>
          </p:cNvPr>
          <p:cNvSpPr txBox="1"/>
          <p:nvPr/>
        </p:nvSpPr>
        <p:spPr>
          <a:xfrm>
            <a:off x="3481275" y="2184617"/>
            <a:ext cx="4363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hz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681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47A6B-8DA1-B24F-AC8D-4D7B19186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7090"/>
            <a:ext cx="7886700" cy="553470"/>
          </a:xfrm>
        </p:spPr>
        <p:txBody>
          <a:bodyPr/>
          <a:lstStyle/>
          <a:p>
            <a:r>
              <a:rPr lang="en-US" dirty="0"/>
              <a:t>Lab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6251FA-827A-814D-91AC-27A9778BC2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001486"/>
            <a:ext cx="7886700" cy="363123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his lab highlights the deployment of a model to an edge device.  The sample app is a simple image analysis app using TensorFlow JS. The basic steps in this lab are:</a:t>
            </a:r>
          </a:p>
          <a:p>
            <a:r>
              <a:rPr lang="en-US" sz="1800" dirty="0"/>
              <a:t>Install agent on edge device ( virtual device in this lab )</a:t>
            </a:r>
          </a:p>
          <a:p>
            <a:r>
              <a:rPr lang="en-US" sz="1800" dirty="0"/>
              <a:t>Build and Publish an edge service</a:t>
            </a:r>
          </a:p>
          <a:p>
            <a:r>
              <a:rPr lang="en-US" sz="1800" dirty="0"/>
              <a:t>Publish a policy</a:t>
            </a:r>
          </a:p>
          <a:p>
            <a:r>
              <a:rPr lang="en-US" sz="1800" dirty="0"/>
              <a:t>Register the edge device</a:t>
            </a:r>
          </a:p>
          <a:p>
            <a:r>
              <a:rPr lang="en-US" sz="1800" dirty="0"/>
              <a:t>Validate the deployment of the model to the edge device.</a:t>
            </a:r>
          </a:p>
          <a:p>
            <a:r>
              <a:rPr lang="en-US" sz="1800" dirty="0"/>
              <a:t>Update Model</a:t>
            </a:r>
          </a:p>
          <a:p>
            <a:r>
              <a:rPr lang="en-US" sz="1800" dirty="0"/>
              <a:t>Verify change in app</a:t>
            </a:r>
          </a:p>
        </p:txBody>
      </p:sp>
    </p:spTree>
    <p:extLst>
      <p:ext uri="{BB962C8B-B14F-4D97-AF65-F5344CB8AC3E}">
        <p14:creationId xmlns:p14="http://schemas.microsoft.com/office/powerpoint/2010/main" val="4008334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10.xml><?xml version="1.0" encoding="utf-8"?>
<a:theme xmlns:a="http://schemas.openxmlformats.org/drawingml/2006/main" name="1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600" dirty="0" smtClean="0">
            <a:solidFill>
              <a:srgbClr val="FF0000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0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IBM 2019 Master template (blue background)">
  <a:themeElements>
    <a:clrScheme name="Custom 4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FEFFFF"/>
      </a:hlink>
      <a:folHlink>
        <a:srgbClr val="F3F3F3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Automation_Variant" id="{C6CD72B4-DBA7-8443-8A9D-DCD5B6F9784D}" vid="{A5170B8D-7883-7941-A2A0-7FE0E95AC6E8}"/>
    </a:ext>
  </a:extLst>
</a:theme>
</file>

<file path=ppt/theme/theme12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26" id="{EE0867DC-188A-9245-B886-88B983A9FA65}" vid="{46B99630-B5ED-D447-9760-E7DB48EE932E}"/>
    </a:ext>
  </a:extLst>
</a:theme>
</file>

<file path=ppt/theme/theme13.xml><?xml version="1.0" encoding="utf-8"?>
<a:theme xmlns:a="http://schemas.openxmlformats.org/drawingml/2006/main" name="1_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14.xml><?xml version="1.0" encoding="utf-8"?>
<a:theme xmlns:a="http://schemas.openxmlformats.org/drawingml/2006/main" name="BLACK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WHITE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_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17.xml><?xml version="1.0" encoding="utf-8"?>
<a:theme xmlns:a="http://schemas.openxmlformats.org/drawingml/2006/main" name="1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600" dirty="0" smtClean="0">
            <a:solidFill>
              <a:srgbClr val="FF0000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0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40000"/>
            <a:lumOff val="6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800" dirty="0" smtClean="0">
            <a:solidFill>
              <a:schemeClr val="tx1"/>
            </a:solidFill>
            <a:latin typeface="Avenir Book" panose="02000503020000020003" pitchFamily="2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3_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2.xml><?xml version="1.0" encoding="utf-8"?>
<a:theme xmlns:a="http://schemas.openxmlformats.org/drawingml/2006/main" name="3_blk_background_2017">
  <a:themeElements>
    <a:clrScheme name="Custom 15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CIS Messaging 3 Chapters 050119 for CL" id="{7172772B-7FAD-1F40-82AB-4367521A43BF}" vid="{FC8DB560-27CE-7944-8CB9-DDADCBD8955A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blk_background_2017">
  <a:themeElements>
    <a:clrScheme name="Custom 15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CIS Messaging 3 Chapters 050119 for CL" id="{7172772B-7FAD-1F40-82AB-4367521A43BF}" vid="{FC8DB560-27CE-7944-8CB9-DDADCBD8955A}"/>
    </a:ext>
  </a:extLst>
</a:theme>
</file>

<file path=ppt/theme/theme4.xml><?xml version="1.0" encoding="utf-8"?>
<a:theme xmlns:a="http://schemas.openxmlformats.org/drawingml/2006/main" name="2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1_Plex" id="{E4F078EA-58AF-6C4E-BE35-690E66F1C43A}" vid="{CBAA68B9-7875-FE41-9AE2-43D2BA4EACF6}"/>
    </a:ext>
  </a:extLst>
</a:theme>
</file>

<file path=ppt/theme/theme5.xml><?xml version="1.0" encoding="utf-8"?>
<a:theme xmlns:a="http://schemas.openxmlformats.org/drawingml/2006/main" name="16_blk_background_2017">
  <a:themeElements>
    <a:clrScheme name="Custom 49">
      <a:dk1>
        <a:srgbClr val="000000"/>
      </a:dk1>
      <a:lt1>
        <a:srgbClr val="000000"/>
      </a:lt1>
      <a:dk2>
        <a:srgbClr val="EAEAEA"/>
      </a:dk2>
      <a:lt2>
        <a:srgbClr val="FFFFFF"/>
      </a:lt2>
      <a:accent1>
        <a:srgbClr val="8F8B8B"/>
      </a:accent1>
      <a:accent2>
        <a:srgbClr val="0F6FFF"/>
      </a:accent2>
      <a:accent3>
        <a:srgbClr val="20D5D2"/>
      </a:accent3>
      <a:accent4>
        <a:srgbClr val="8F8B8B"/>
      </a:accent4>
      <a:accent5>
        <a:srgbClr val="6E177D"/>
      </a:accent5>
      <a:accent6>
        <a:srgbClr val="DB2663"/>
      </a:accent6>
      <a:hlink>
        <a:srgbClr val="0F6F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Cloud_Presentation_2018_V01_Plex" id="{E4F078EA-58AF-6C4E-BE35-690E66F1C43A}" vid="{CBAA68B9-7875-FE41-9AE2-43D2BA4EACF6}"/>
    </a:ext>
  </a:extLst>
</a:theme>
</file>

<file path=ppt/theme/theme6.xml><?xml version="1.0" encoding="utf-8"?>
<a:theme xmlns:a="http://schemas.openxmlformats.org/drawingml/2006/main" name="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LargeFormat" id="{576EDDA4-CE65-7847-AB4B-936D6B9E6EF8}" vid="{4D1FF040-16B5-AF49-A11E-A1E9B1CE4544}"/>
    </a:ext>
  </a:extLst>
</a:theme>
</file>

<file path=ppt/theme/theme7.xml><?xml version="1.0" encoding="utf-8"?>
<a:theme xmlns:a="http://schemas.openxmlformats.org/drawingml/2006/main" name="1_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_LargeFormat" id="{576EDDA4-CE65-7847-AB4B-936D6B9E6EF8}" vid="{4D1FF040-16B5-AF49-A11E-A1E9B1CE454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Dark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53</TotalTime>
  <Words>1214</Words>
  <Application>Microsoft Macintosh PowerPoint</Application>
  <PresentationFormat>On-screen Show (16:9)</PresentationFormat>
  <Paragraphs>298</Paragraphs>
  <Slides>2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7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67" baseType="lpstr">
      <vt:lpstr>ＭＳ Ｐゴシック</vt:lpstr>
      <vt:lpstr>ＭＳ Ｐゴシック</vt:lpstr>
      <vt:lpstr>ヒラギノ角ゴ Pro W3</vt:lpstr>
      <vt:lpstr>.AppleSystemUIFont</vt:lpstr>
      <vt:lpstr>Arial</vt:lpstr>
      <vt:lpstr>Avenir Book</vt:lpstr>
      <vt:lpstr>Calibri</vt:lpstr>
      <vt:lpstr>Calibri Light</vt:lpstr>
      <vt:lpstr>Chalkduster</vt:lpstr>
      <vt:lpstr>DINPro-Medium</vt:lpstr>
      <vt:lpstr>DINPro-Regular</vt:lpstr>
      <vt:lpstr>Helvetica</vt:lpstr>
      <vt:lpstr>Helvetica Neue</vt:lpstr>
      <vt:lpstr>Helvetica Neue Light</vt:lpstr>
      <vt:lpstr>HelvNeue for IBM</vt:lpstr>
      <vt:lpstr>HelvNeue Light for IBM</vt:lpstr>
      <vt:lpstr>IBM Eliot Sans Regular</vt:lpstr>
      <vt:lpstr>IBM Plex Mono</vt:lpstr>
      <vt:lpstr>IBM Plex Sans</vt:lpstr>
      <vt:lpstr>IBM Plex Sans ExtraLight</vt:lpstr>
      <vt:lpstr>IBM Plex Sans Light</vt:lpstr>
      <vt:lpstr>IBM Plex Sans Medium</vt:lpstr>
      <vt:lpstr>IBM Plex Sans SemiBold</vt:lpstr>
      <vt:lpstr>Lucida Grande</vt:lpstr>
      <vt:lpstr>LucidaGrande</vt:lpstr>
      <vt:lpstr>Times New Roman</vt:lpstr>
      <vt:lpstr>Wingdings</vt:lpstr>
      <vt:lpstr>wht_background_2017</vt:lpstr>
      <vt:lpstr>3_blk_background_2017</vt:lpstr>
      <vt:lpstr>4_blk_background_2017</vt:lpstr>
      <vt:lpstr>2_blk_background_2017</vt:lpstr>
      <vt:lpstr>16_blk_background_2017</vt:lpstr>
      <vt:lpstr>IBM 2019 Master template (black background)</vt:lpstr>
      <vt:lpstr>1_IBM 2019 Master template (black background)</vt:lpstr>
      <vt:lpstr>Office Theme</vt:lpstr>
      <vt:lpstr>2_Dark Background</vt:lpstr>
      <vt:lpstr>15_Custom Design</vt:lpstr>
      <vt:lpstr>IBM 2019 Master template (blue background)</vt:lpstr>
      <vt:lpstr>IBM 2019 Master template (light gray background)</vt:lpstr>
      <vt:lpstr>1_wht_background_2017</vt:lpstr>
      <vt:lpstr>BLACK</vt:lpstr>
      <vt:lpstr>WHITE</vt:lpstr>
      <vt:lpstr>2_wht_background_2017</vt:lpstr>
      <vt:lpstr>19_Custom Design</vt:lpstr>
      <vt:lpstr>14_Custom Design</vt:lpstr>
      <vt:lpstr>3_wht_background_2017</vt:lpstr>
      <vt:lpstr>think-cell Slide</vt:lpstr>
      <vt:lpstr>PowerPoint Presentation</vt:lpstr>
      <vt:lpstr>Technical Architecture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b Setup</vt:lpstr>
      <vt:lpstr>Lab Overview</vt:lpstr>
      <vt:lpstr>1. Install Agent</vt:lpstr>
      <vt:lpstr>2. Build, Publish Service</vt:lpstr>
      <vt:lpstr>3. Publish Policy</vt:lpstr>
      <vt:lpstr>4. Register Device</vt:lpstr>
      <vt:lpstr>Service (App) gets deployed to device</vt:lpstr>
      <vt:lpstr>5. Validate App</vt:lpstr>
      <vt:lpstr>6. Update Model</vt:lpstr>
      <vt:lpstr>Application sees new model and pulls it</vt:lpstr>
      <vt:lpstr>5. Verify updated model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AVEER VEDALAVENI</dc:creator>
  <cp:lastModifiedBy>jim conallen</cp:lastModifiedBy>
  <cp:revision>47</cp:revision>
  <dcterms:created xsi:type="dcterms:W3CDTF">2020-06-19T17:00:46Z</dcterms:created>
  <dcterms:modified xsi:type="dcterms:W3CDTF">2020-08-11T12:41:16Z</dcterms:modified>
</cp:coreProperties>
</file>